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heme/themeOverride1.xml" ContentType="application/vnd.openxmlformats-officedocument.themeOverr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Override2.xml" ContentType="application/vnd.openxmlformats-officedocument.themeOverr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27"/>
  </p:notesMasterIdLst>
  <p:sldIdLst>
    <p:sldId id="276" r:id="rId2"/>
    <p:sldId id="560" r:id="rId3"/>
    <p:sldId id="558" r:id="rId4"/>
    <p:sldId id="660" r:id="rId5"/>
    <p:sldId id="572" r:id="rId6"/>
    <p:sldId id="661" r:id="rId7"/>
    <p:sldId id="662" r:id="rId8"/>
    <p:sldId id="548" r:id="rId9"/>
    <p:sldId id="547" r:id="rId10"/>
    <p:sldId id="568" r:id="rId11"/>
    <p:sldId id="663" r:id="rId12"/>
    <p:sldId id="561" r:id="rId13"/>
    <p:sldId id="550" r:id="rId14"/>
    <p:sldId id="562" r:id="rId15"/>
    <p:sldId id="563" r:id="rId16"/>
    <p:sldId id="573" r:id="rId17"/>
    <p:sldId id="564" r:id="rId18"/>
    <p:sldId id="565" r:id="rId19"/>
    <p:sldId id="567" r:id="rId20"/>
    <p:sldId id="566" r:id="rId21"/>
    <p:sldId id="551" r:id="rId22"/>
    <p:sldId id="559" r:id="rId23"/>
    <p:sldId id="569" r:id="rId24"/>
    <p:sldId id="570" r:id="rId25"/>
    <p:sldId id="571" r:id="rId26"/>
  </p:sldIdLst>
  <p:sldSz cx="12192000" cy="6858000"/>
  <p:notesSz cx="6858000" cy="9144000"/>
  <p:embeddedFontLst>
    <p:embeddedFont>
      <p:font typeface="Calibri" panose="020F0502020204030204" pitchFamily="34" charset="0"/>
      <p:regular r:id="rId28"/>
      <p:bold r:id="rId29"/>
      <p:italic r:id="rId30"/>
      <p:boldItalic r:id="rId31"/>
    </p:embeddedFont>
    <p:embeddedFont>
      <p:font typeface="Calibri Light" panose="020F0302020204030204" pitchFamily="34" charset="0"/>
      <p:regular r:id="rId32"/>
      <p:italic r:id="rId33"/>
    </p:embeddedFont>
    <p:embeddedFont>
      <p:font typeface="Open Sans" panose="020B0606030504020204" pitchFamily="34" charset="0"/>
      <p:regular r:id="rId34"/>
      <p:bold r:id="rId35"/>
    </p:embeddedFont>
    <p:embeddedFont>
      <p:font typeface="PT Sans Caption" panose="020B0603020203020204" pitchFamily="34" charset="-52"/>
      <p:regular r:id="rId36"/>
      <p:bold r:id="rId37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9EA5778F-BAA4-4742-AC11-87790D76153E}">
          <p14:sldIdLst>
            <p14:sldId id="276"/>
            <p14:sldId id="560"/>
          </p14:sldIdLst>
        </p14:section>
        <p14:section name="Раздел по умолчанию" id="{C22F2FF5-B6D6-483D-8A77-4E7E7A42B07F}">
          <p14:sldIdLst>
            <p14:sldId id="558"/>
            <p14:sldId id="660"/>
            <p14:sldId id="572"/>
            <p14:sldId id="661"/>
            <p14:sldId id="662"/>
            <p14:sldId id="548"/>
            <p14:sldId id="547"/>
            <p14:sldId id="568"/>
            <p14:sldId id="663"/>
            <p14:sldId id="561"/>
            <p14:sldId id="550"/>
            <p14:sldId id="562"/>
            <p14:sldId id="563"/>
            <p14:sldId id="573"/>
            <p14:sldId id="564"/>
            <p14:sldId id="565"/>
            <p14:sldId id="567"/>
            <p14:sldId id="566"/>
            <p14:sldId id="551"/>
            <p14:sldId id="559"/>
            <p14:sldId id="569"/>
            <p14:sldId id="570"/>
            <p14:sldId id="57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Хомякова Полина" initials="ХП" lastIdx="8" clrIdx="0">
    <p:extLst>
      <p:ext uri="{19B8F6BF-5375-455C-9EA6-DF929625EA0E}">
        <p15:presenceInfo xmlns:p15="http://schemas.microsoft.com/office/powerpoint/2012/main" userId="S::p.khomyakova@crpt.ru::2205f5fc-9bdf-42f6-8e2a-328df2c3380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959"/>
    <a:srgbClr val="F8F200"/>
    <a:srgbClr val="EAEA00"/>
    <a:srgbClr val="A7A9AC"/>
    <a:srgbClr val="C7C8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93" autoAdjust="0"/>
    <p:restoredTop sz="94660"/>
  </p:normalViewPr>
  <p:slideViewPr>
    <p:cSldViewPr snapToGrid="0">
      <p:cViewPr varScale="1">
        <p:scale>
          <a:sx n="67" d="100"/>
          <a:sy n="67" d="100"/>
        </p:scale>
        <p:origin x="604" y="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-2790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font" Target="fonts/font7.fntdata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2.fntdata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5.fntdata"/><Relationship Id="rId37" Type="http://schemas.openxmlformats.org/officeDocument/2006/relationships/font" Target="fonts/font10.fntdata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1.fntdata"/><Relationship Id="rId36" Type="http://schemas.openxmlformats.org/officeDocument/2006/relationships/font" Target="fonts/font9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font" Target="fonts/font3.fntdata"/><Relationship Id="rId35" Type="http://schemas.openxmlformats.org/officeDocument/2006/relationships/font" Target="fonts/font8.fntdata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6.fntdata"/><Relationship Id="rId38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49C633-B790-490D-B6B9-51E8CDDC6A85}" type="datetimeFigureOut">
              <a:rPr lang="ru-RU" smtClean="0"/>
              <a:pPr/>
              <a:t>13.01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0567A3-BBF3-40C3-9B0E-EE7FDE90F57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70036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 err="1"/>
              <a:t>Notes</a:t>
            </a:r>
            <a:r>
              <a:rPr lang="ru-RU"/>
              <a:t> view: </a:t>
            </a:r>
            <a:fld id="{128CEAFE-FA94-43E5-B0FF-D47E1CCDD1B4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854011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92649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 err="1"/>
              <a:t>Notes</a:t>
            </a:r>
            <a:r>
              <a:rPr lang="ru-RU" dirty="0"/>
              <a:t> </a:t>
            </a:r>
            <a:r>
              <a:rPr lang="ru-RU" dirty="0" err="1"/>
              <a:t>view</a:t>
            </a:r>
            <a:r>
              <a:rPr lang="ru-RU" dirty="0"/>
              <a:t>: </a:t>
            </a:r>
            <a:fld id="{128CEAFE-FA94-43E5-B0FF-D47E1CCDD1B4}" type="slidenum">
              <a:rPr lang="ru-RU" smtClean="0"/>
              <a:pPr/>
              <a:t>2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439633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10" Type="http://schemas.openxmlformats.org/officeDocument/2006/relationships/image" Target="../media/image2.png"/><Relationship Id="rId4" Type="http://schemas.openxmlformats.org/officeDocument/2006/relationships/tags" Target="../tags/tag3.xml"/><Relationship Id="rId9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7BF24B1-C550-4E63-B398-0391877BA94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7F1CE374-FE3D-4EBF-A888-C58A5231BA3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0E496E7-BF96-447F-AB5C-BFB656EE22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3.01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5C6BFDF-9575-421A-A54F-5312DCFF1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E6489D9-0F8F-428F-A315-D937A1F092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293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58CC319-B5AC-41CC-AE94-73856683BD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604FF437-0816-4176-AB94-201C75CC796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7E83F6C-4FB1-4378-BDBA-C3B71F123E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3.01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C6C14F9-689F-4C73-9FF1-69B866B52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C3E8C8C-F56D-4F9F-96D4-9292299EB2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060456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695036FC-7C4E-44EE-A7CA-44827DC67F8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7CBBC8E9-8AC7-4050-A277-931CD15AE4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FBC03BD-4E1B-4ACC-ACA3-B05434CBC4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3.01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8D685FC-22DF-48D5-81DE-6BD45E0FD0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2EEB6D5-F6B2-4324-8AD2-9F501C6C6F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06381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83906052-BB93-4A9D-83D9-844459518E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FooterSimple" hidden="1"/>
          <p:cNvSpPr txBox="1"/>
          <p:nvPr>
            <p:custDataLst>
              <p:tags r:id="rId4"/>
            </p:custDataLst>
          </p:nvPr>
        </p:nvSpPr>
        <p:spPr>
          <a:xfrm rot="16200000">
            <a:off x="10561320" y="5069411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31_Обзор проекта маркировки_Добродеев ВГТРК_v1.pptx</a:t>
            </a:r>
          </a:p>
        </p:txBody>
      </p:sp>
      <p:sp>
        <p:nvSpPr>
          <p:cNvPr id="11" name="Rectangle 10"/>
          <p:cNvSpPr/>
          <p:nvPr/>
        </p:nvSpPr>
        <p:spPr>
          <a:xfrm>
            <a:off x="0" y="0"/>
            <a:ext cx="12192000" cy="115570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12" name="Title 7"/>
          <p:cNvSpPr>
            <a:spLocks noGrp="1"/>
          </p:cNvSpPr>
          <p:nvPr>
            <p:ph type="title" hasCustomPrompt="1"/>
          </p:nvPr>
        </p:nvSpPr>
        <p:spPr>
          <a:xfrm>
            <a:off x="629400" y="151901"/>
            <a:ext cx="10933801" cy="941796"/>
          </a:xfrm>
        </p:spPr>
        <p:txBody>
          <a:bodyPr anchor="ctr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9" name="Прямоугольник 8" hidden="1">
            <a:extLst>
              <a:ext uri="{FF2B5EF4-FFF2-40B4-BE49-F238E27FC236}">
                <a16:creationId xmlns:a16="http://schemas.microsoft.com/office/drawing/2014/main" id="{F88B0A4A-81C2-4AF4-8CDF-D8E328599450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3" name="Rectangle 8">
            <a:extLst>
              <a:ext uri="{FF2B5EF4-FFF2-40B4-BE49-F238E27FC236}">
                <a16:creationId xmlns:a16="http://schemas.microsoft.com/office/drawing/2014/main" id="{734BCF03-6C5B-4350-BA9D-EE4F26037FD1}"/>
              </a:ext>
            </a:extLst>
          </p:cNvPr>
          <p:cNvSpPr/>
          <p:nvPr userDrawn="1"/>
        </p:nvSpPr>
        <p:spPr>
          <a:xfrm>
            <a:off x="0" y="0"/>
            <a:ext cx="12192000" cy="115570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14" name="Copyright" hidden="1">
            <a:extLst>
              <a:ext uri="{FF2B5EF4-FFF2-40B4-BE49-F238E27FC236}">
                <a16:creationId xmlns:a16="http://schemas.microsoft.com/office/drawing/2014/main" id="{1858C75B-F07A-482D-9831-0E1B64875A66}"/>
              </a:ext>
            </a:extLst>
          </p:cNvPr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reserved.</a:t>
            </a:r>
          </a:p>
        </p:txBody>
      </p:sp>
      <p:sp>
        <p:nvSpPr>
          <p:cNvPr id="15" name="FooterSimple" hidden="1">
            <a:extLst>
              <a:ext uri="{FF2B5EF4-FFF2-40B4-BE49-F238E27FC236}">
                <a16:creationId xmlns:a16="http://schemas.microsoft.com/office/drawing/2014/main" id="{A721DD66-78CF-4C71-9C53-DDE41B927AE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 rot="16200000">
            <a:off x="10561320" y="5069411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31_Обзор проекта маркировки_Добродеев ВГТРК_v1.pptx</a:t>
            </a:r>
          </a:p>
        </p:txBody>
      </p:sp>
      <p:pic>
        <p:nvPicPr>
          <p:cNvPr id="16" name="Picture 36">
            <a:extLst>
              <a:ext uri="{FF2B5EF4-FFF2-40B4-BE49-F238E27FC236}">
                <a16:creationId xmlns:a16="http://schemas.microsoft.com/office/drawing/2014/main" id="{001B5898-55BE-4638-8CFF-48B4C3CCC58F}"/>
              </a:ext>
            </a:extLst>
          </p:cNvPr>
          <p:cNvPicPr preferRelativeResize="0"/>
          <p:nvPr userDrawn="1"/>
        </p:nvPicPr>
        <p:blipFill rotWithShape="1">
          <a:blip r:embed="rId10" cstate="print">
            <a:alphaModFix/>
          </a:blip>
          <a:srcRect l="-57" t="571" r="55" b="32592"/>
          <a:stretch/>
        </p:blipFill>
        <p:spPr>
          <a:xfrm>
            <a:off x="11366927" y="102516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92914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7BC3970F-5583-41A2-A218-363495D62B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600" b="1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2" name="Picture 1" descr="Screen Clippi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9739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ru-RU" dirty="0"/>
          </a:p>
        </p:txBody>
      </p:sp>
      <p:pic>
        <p:nvPicPr>
          <p:cNvPr id="15" name="Shape 54"/>
          <p:cNvPicPr preferRelativeResize="0"/>
          <p:nvPr userDrawn="1"/>
        </p:nvPicPr>
        <p:blipFill>
          <a:blip r:embed="rId8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Shape 56"/>
          <p:cNvPicPr preferRelativeResize="0"/>
          <p:nvPr userDrawn="1"/>
        </p:nvPicPr>
        <p:blipFill>
          <a:blip r:embed="rId9" cstate="print">
            <a:alphaModFix/>
          </a:blip>
          <a:stretch>
            <a:fillRect/>
          </a:stretch>
        </p:blipFill>
        <p:spPr>
          <a:xfrm>
            <a:off x="626245" y="562045"/>
            <a:ext cx="1346725" cy="259451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934752" y="2034605"/>
            <a:ext cx="5698159" cy="1394494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</p:spTree>
    <p:extLst>
      <p:ext uri="{BB962C8B-B14F-4D97-AF65-F5344CB8AC3E}">
        <p14:creationId xmlns:p14="http://schemas.microsoft.com/office/powerpoint/2010/main" val="95230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85790BF-A5B2-45A8-86D8-2479602CA1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1EDBA84-7AF9-4EF9-87A1-CDAFFD5ECB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5F1E517-E469-4B19-B54A-1694BC8C3F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3.01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30B4A4D-01B5-4F55-91C1-8345939BE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A9FA999-37EF-4C8A-82B0-6D6F51B703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174871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18112DE-B166-46CC-8221-EA53A7FEA1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56018DB-0BE7-4A76-8516-2E1B750F1E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5248F4F-3CE6-47E1-910E-892789D9A7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3.01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37F5599-7B55-4750-9772-E46C136C4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4A7E4B5-FF71-45BD-B9B0-20617ADAE6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61635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9953B31-D623-46E7-B5C1-6562AB1C4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D1E47F2-B14E-49BB-9205-84CB8555E4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E5BF1FC4-F804-4D62-8306-818206F1ED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3EEADA3-1F64-4C66-9E91-E3CD382797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3.01.2020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9CCB8736-EDEA-4D59-817C-2D62B475BF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A93E961-FAD2-48BD-837B-33197E2959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30110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5FA578F-8188-4EEA-9729-EAE61D3902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36884AC-AE85-4996-856C-2609C17BF6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D04CD1E0-3110-4505-BE29-ABE1CFC9FF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588BF824-51BF-4401-A102-01B66C7E847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6540679A-4FB6-4EB3-B22F-A1A0935B188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2DFF7F49-9685-42D3-8E95-6A09571A6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3.01.2020</a:t>
            </a:fld>
            <a:endParaRPr lang="ru-RU" dirty="0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CB6FDEF1-B79C-4B23-911D-C1476A3608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EEACA413-7C10-4E47-BBA5-DF687D356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023771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58BE9DC-5F28-4387-996F-AF3504F18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D3B4DC63-EF0E-4023-9B1B-92C5AF95F9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3.01.2020</a:t>
            </a:fld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9256ECF7-FD0D-4F81-8BE1-2592F6AC7C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51EF07CB-F6EA-4377-83CF-63B4A9547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167500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74782213-5CDF-4ACC-A36B-2057C79312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3.01.2020</a:t>
            </a:fld>
            <a:endParaRPr lang="ru-RU"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CBF78C7D-58C7-4380-9623-0DC1344E88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35E9202-1998-4C41-A938-FE2C72A04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85739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8098752-9061-452C-A2A3-71CA943CC3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E57FF40-EC18-4377-B8E2-B9AB83F841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3BC70760-2E21-4BD3-B53D-A9D7DF2268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83A7D132-6BD0-4549-A336-61507BF44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3.01.2020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4B033B7-FCE7-4689-84E7-F34BF01F9E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60285E3-2FC2-46CC-A1D9-10D5A421FE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787134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6D752EF-23C5-4FBC-9649-B987599BD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F451E62B-E35C-4F12-B89E-648C83B3B9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FD1DA447-5104-48C0-B63F-E20D411F70D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628F3018-3285-4E46-9943-0B8701C2DE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3.01.2020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CB41DFD-AEB6-4FD9-9E94-3F49910F5D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B29A4B4-4BBA-4FBB-AE7E-867EB1D43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28842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EACA41-F4AD-4C9B-9AF7-F1BC517F88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7CCB4A4-BB8F-4143-B8D8-796E8BFC69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04B01A8-98DE-476A-BD69-C074FA40B4E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714BA1-98D4-4A12-A432-565595167A31}" type="datetimeFigureOut">
              <a:rPr lang="ru-RU" smtClean="0"/>
              <a:pPr/>
              <a:t>13.01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D6D9EFD-92F0-446B-8993-71F5C67B78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BB4B3FD-DA78-424C-B55D-E3D3B330D3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3944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.xml"/><Relationship Id="rId7" Type="http://schemas.openxmlformats.org/officeDocument/2006/relationships/oleObject" Target="../embeddings/oleObject3.bin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13" Type="http://schemas.openxmlformats.org/officeDocument/2006/relationships/image" Target="../media/image42.png"/><Relationship Id="rId3" Type="http://schemas.openxmlformats.org/officeDocument/2006/relationships/tags" Target="../tags/tag21.xml"/><Relationship Id="rId7" Type="http://schemas.openxmlformats.org/officeDocument/2006/relationships/oleObject" Target="../embeddings/oleObject9.bin"/><Relationship Id="rId12" Type="http://schemas.openxmlformats.org/officeDocument/2006/relationships/image" Target="../media/image41.png"/><Relationship Id="rId2" Type="http://schemas.openxmlformats.org/officeDocument/2006/relationships/tags" Target="../tags/tag20.xml"/><Relationship Id="rId16" Type="http://schemas.openxmlformats.org/officeDocument/2006/relationships/image" Target="../media/image45.png"/><Relationship Id="rId1" Type="http://schemas.openxmlformats.org/officeDocument/2006/relationships/vmlDrawing" Target="../drawings/vmlDrawing9.vml"/><Relationship Id="rId6" Type="http://schemas.openxmlformats.org/officeDocument/2006/relationships/image" Target="../media/image33.jpeg"/><Relationship Id="rId11" Type="http://schemas.openxmlformats.org/officeDocument/2006/relationships/image" Target="../media/image40.png"/><Relationship Id="rId5" Type="http://schemas.openxmlformats.org/officeDocument/2006/relationships/image" Target="../media/image32.jpeg"/><Relationship Id="rId15" Type="http://schemas.openxmlformats.org/officeDocument/2006/relationships/image" Target="../media/image44.png"/><Relationship Id="rId10" Type="http://schemas.openxmlformats.org/officeDocument/2006/relationships/image" Target="../media/image39.jpe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35.png"/><Relationship Id="rId14" Type="http://schemas.openxmlformats.org/officeDocument/2006/relationships/image" Target="../media/image4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7" Type="http://schemas.openxmlformats.org/officeDocument/2006/relationships/image" Target="../media/image3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0.jpeg"/><Relationship Id="rId5" Type="http://schemas.openxmlformats.org/officeDocument/2006/relationships/image" Target="../media/image48.jpeg"/><Relationship Id="rId4" Type="http://schemas.openxmlformats.org/officeDocument/2006/relationships/image" Target="../media/image47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1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tags" Target="../tags/tag23.xml"/><Relationship Id="rId7" Type="http://schemas.openxmlformats.org/officeDocument/2006/relationships/image" Target="../media/image58.jpeg"/><Relationship Id="rId12" Type="http://schemas.openxmlformats.org/officeDocument/2006/relationships/image" Target="../media/image63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9.emf"/><Relationship Id="rId11" Type="http://schemas.openxmlformats.org/officeDocument/2006/relationships/image" Target="../media/image62.pn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61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jpeg"/><Relationship Id="rId3" Type="http://schemas.openxmlformats.org/officeDocument/2006/relationships/image" Target="../media/image41.png"/><Relationship Id="rId7" Type="http://schemas.openxmlformats.org/officeDocument/2006/relationships/image" Target="../media/image68.jpe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7.png"/><Relationship Id="rId5" Type="http://schemas.openxmlformats.org/officeDocument/2006/relationships/image" Target="../media/image35.png"/><Relationship Id="rId10" Type="http://schemas.openxmlformats.org/officeDocument/2006/relationships/image" Target="../media/image71.png"/><Relationship Id="rId4" Type="http://schemas.openxmlformats.org/officeDocument/2006/relationships/image" Target="../media/image66.png"/><Relationship Id="rId9" Type="http://schemas.openxmlformats.org/officeDocument/2006/relationships/image" Target="../media/image7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6.jpeg"/><Relationship Id="rId5" Type="http://schemas.openxmlformats.org/officeDocument/2006/relationships/image" Target="../media/image75.jpeg"/><Relationship Id="rId4" Type="http://schemas.openxmlformats.org/officeDocument/2006/relationships/image" Target="../media/image74.jpe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5.xml"/><Relationship Id="rId7" Type="http://schemas.openxmlformats.org/officeDocument/2006/relationships/image" Target="../media/image6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jpe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.xml"/><Relationship Id="rId9" Type="http://schemas.openxmlformats.org/officeDocument/2006/relationships/oleObject" Target="../embeddings/oleObject11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1.xml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16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png"/><Relationship Id="rId5" Type="http://schemas.openxmlformats.org/officeDocument/2006/relationships/image" Target="../media/image18.png"/><Relationship Id="rId10" Type="http://schemas.openxmlformats.org/officeDocument/2006/relationships/image" Target="../media/image15.png"/><Relationship Id="rId4" Type="http://schemas.openxmlformats.org/officeDocument/2006/relationships/image" Target="../media/image17.png"/><Relationship Id="rId9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tags" Target="../tags/tag12.xml"/><Relationship Id="rId7" Type="http://schemas.openxmlformats.org/officeDocument/2006/relationships/image" Target="../media/image19.emf"/><Relationship Id="rId2" Type="http://schemas.openxmlformats.org/officeDocument/2006/relationships/vmlDrawing" Target="../drawings/vmlDrawing5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23.jpeg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22.jpeg"/><Relationship Id="rId4" Type="http://schemas.openxmlformats.org/officeDocument/2006/relationships/tags" Target="../tags/tag13.xml"/><Relationship Id="rId9" Type="http://schemas.openxmlformats.org/officeDocument/2006/relationships/image" Target="../media/image21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4.xml"/><Relationship Id="rId7" Type="http://schemas.openxmlformats.org/officeDocument/2006/relationships/image" Target="../media/image19.emf"/><Relationship Id="rId2" Type="http://schemas.openxmlformats.org/officeDocument/2006/relationships/vmlDrawing" Target="../drawings/vmlDrawing6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5.png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14.png"/><Relationship Id="rId4" Type="http://schemas.openxmlformats.org/officeDocument/2006/relationships/tags" Target="../tags/tag15.xml"/><Relationship Id="rId9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tags" Target="../tags/tag17.xml"/><Relationship Id="rId7" Type="http://schemas.openxmlformats.org/officeDocument/2006/relationships/image" Target="../media/image27.png"/><Relationship Id="rId12" Type="http://schemas.openxmlformats.org/officeDocument/2006/relationships/image" Target="../media/image32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9.emf"/><Relationship Id="rId11" Type="http://schemas.openxmlformats.org/officeDocument/2006/relationships/image" Target="../media/image31.jpe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30.jpe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tags" Target="../tags/tag19.xml"/><Relationship Id="rId7" Type="http://schemas.openxmlformats.org/officeDocument/2006/relationships/image" Target="../media/image19.emf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35.png"/><Relationship Id="rId5" Type="http://schemas.openxmlformats.org/officeDocument/2006/relationships/image" Target="../media/image33.jpeg"/><Relationship Id="rId10" Type="http://schemas.openxmlformats.org/officeDocument/2006/relationships/image" Target="../media/image34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437" name="Picture 53" descr="G:\Реваз\Презентация Реваз\Легкая промушленность\cover-new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" y="0"/>
            <a:ext cx="12192000" cy="6876788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9" name="Rectangle 25"/>
          <p:cNvSpPr/>
          <p:nvPr/>
        </p:nvSpPr>
        <p:spPr>
          <a:xfrm>
            <a:off x="0" y="-2"/>
            <a:ext cx="12192000" cy="6876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0113F97A-8142-40BA-8E6E-664690AEFD51}"/>
              </a:ext>
            </a:extLst>
          </p:cNvPr>
          <p:cNvSpPr txBox="1">
            <a:spLocks/>
          </p:cNvSpPr>
          <p:nvPr/>
        </p:nvSpPr>
        <p:spPr>
          <a:xfrm>
            <a:off x="4448135" y="2062718"/>
            <a:ext cx="7471011" cy="25518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39852">
              <a:lnSpc>
                <a:spcPts val="4400"/>
              </a:lnSpc>
            </a:pPr>
            <a:r>
              <a:rPr lang="ru-RU" sz="400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Система обязательной маркировки товаров</a:t>
            </a:r>
            <a:br>
              <a:rPr lang="ru-RU" sz="3200" dirty="0">
                <a:latin typeface="PT Sans Caption" panose="020B0603020203020204" pitchFamily="34" charset="-52"/>
                <a:ea typeface="PT Sans Caption" panose="020B0603020203020204" pitchFamily="34" charset="-52"/>
              </a:rPr>
            </a:br>
            <a:br>
              <a:rPr lang="ru-RU" sz="3200" dirty="0">
                <a:latin typeface="PT Sans Caption" panose="020B0603020203020204" pitchFamily="34" charset="-52"/>
                <a:ea typeface="PT Sans Caption" panose="020B0603020203020204" pitchFamily="34" charset="-52"/>
              </a:rPr>
            </a:br>
            <a:r>
              <a:rPr lang="ru-RU" sz="2800" b="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Александр Долгиев</a:t>
            </a:r>
            <a:endParaRPr lang="en-US" sz="2800" dirty="0">
              <a:latin typeface="PT Sans Caption" pitchFamily="34" charset="-52"/>
            </a:endParaRPr>
          </a:p>
        </p:txBody>
      </p:sp>
      <p:pic>
        <p:nvPicPr>
          <p:cNvPr id="15" name="Рисунок 14" descr="crpt-logo.pn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542554" y="4866184"/>
            <a:ext cx="3821815" cy="1402805"/>
          </a:xfrm>
          <a:prstGeom prst="rect">
            <a:avLst/>
          </a:prstGeom>
        </p:spPr>
      </p:pic>
      <p:pic>
        <p:nvPicPr>
          <p:cNvPr id="16" name="Picture 80" descr="G:\Реваз\Презентация Реваз\Заставка\CZ-logo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60034" y="567771"/>
            <a:ext cx="1355123" cy="260635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1313516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7"/>
          <p:cNvSpPr/>
          <p:nvPr/>
        </p:nvSpPr>
        <p:spPr>
          <a:xfrm>
            <a:off x="6234223" y="2348612"/>
            <a:ext cx="5270205" cy="564715"/>
          </a:xfrm>
          <a:prstGeom prst="rect">
            <a:avLst/>
          </a:prstGeom>
          <a:solidFill>
            <a:schemeClr val="bg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sp>
        <p:nvSpPr>
          <p:cNvPr id="11" name="Rectangle 179"/>
          <p:cNvSpPr/>
          <p:nvPr/>
        </p:nvSpPr>
        <p:spPr>
          <a:xfrm>
            <a:off x="6652445" y="2390210"/>
            <a:ext cx="4469205" cy="4708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itchFamily="34" charset="-52"/>
                <a:ea typeface="Open Sans" panose="020B0606030504020204" pitchFamily="34" charset="0"/>
                <a:cs typeface="Open Sans" panose="020B0606030504020204" pitchFamily="34" charset="0"/>
              </a:rPr>
              <a:t>УОТ НЕ член ГС 1 и/или НЕ имеет возможность полностью описать товар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6251945" y="1850065"/>
            <a:ext cx="5241851" cy="4593265"/>
          </a:xfrm>
          <a:prstGeom prst="rect">
            <a:avLst/>
          </a:prstGeom>
          <a:noFill/>
          <a:ln w="25400">
            <a:solidFill>
              <a:srgbClr val="59595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3D7F2A8-98B9-9B47-8E0B-9FC19F12B9B1}"/>
              </a:ext>
            </a:extLst>
          </p:cNvPr>
          <p:cNvSpPr txBox="1">
            <a:spLocks/>
          </p:cNvSpPr>
          <p:nvPr/>
        </p:nvSpPr>
        <p:spPr>
          <a:xfrm>
            <a:off x="607104" y="430248"/>
            <a:ext cx="10879446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defTabSz="931016"/>
            <a:r>
              <a:rPr lang="ru-RU" dirty="0"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Описание обувных товаров</a:t>
            </a:r>
            <a:endParaRPr lang="bg-BG" dirty="0">
              <a:latin typeface="PT Sans Caption" pitchFamily="34" charset="-52"/>
              <a:cs typeface="Helvetica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F6A83E-0384-4739-A6F8-F46D9356DC44}"/>
              </a:ext>
            </a:extLst>
          </p:cNvPr>
          <p:cNvSpPr txBox="1"/>
          <p:nvPr/>
        </p:nvSpPr>
        <p:spPr>
          <a:xfrm>
            <a:off x="606060" y="3159020"/>
            <a:ext cx="5316275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Модель производителя (должен совпадать с номером модели указанному в сертификате или декларации соответствия)</a:t>
            </a:r>
          </a:p>
          <a:p>
            <a:pPr marL="171450" lvl="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Страна производства</a:t>
            </a:r>
          </a:p>
          <a:p>
            <a:pPr marL="171450" lvl="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4 знака кода ТНВЭД ЕАЭС</a:t>
            </a:r>
          </a:p>
          <a:p>
            <a:pPr marL="171450" lvl="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Вид обуви</a:t>
            </a:r>
          </a:p>
          <a:p>
            <a:pPr marL="171450" lvl="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Вид материала, использованного для изготовления верха обуви</a:t>
            </a:r>
          </a:p>
          <a:p>
            <a:pPr marL="171450" lvl="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Вид материала, использованного для изготовления подкладки обуви</a:t>
            </a:r>
          </a:p>
          <a:p>
            <a:pPr marL="171450" lvl="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Вид материала, использованного для изготовления низа обуви</a:t>
            </a:r>
          </a:p>
          <a:p>
            <a:pPr marL="171450" lvl="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Бренд (торговая марка)</a:t>
            </a:r>
          </a:p>
          <a:p>
            <a:pPr marL="171450" lvl="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ИНН российского производителя, или ИНН импортера</a:t>
            </a:r>
          </a:p>
          <a:p>
            <a:pPr marL="171450" lvl="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Цвет</a:t>
            </a:r>
          </a:p>
          <a:p>
            <a:pPr marL="171450" lvl="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Размер в штихмассовой системе</a:t>
            </a:r>
          </a:p>
          <a:p>
            <a:pPr marL="17145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Наименование товара на этикетке (формируется в свободной форме)</a:t>
            </a:r>
          </a:p>
        </p:txBody>
      </p:sp>
      <p:sp>
        <p:nvSpPr>
          <p:cNvPr id="7" name="Rectangle 7"/>
          <p:cNvSpPr/>
          <p:nvPr/>
        </p:nvSpPr>
        <p:spPr>
          <a:xfrm>
            <a:off x="6230679" y="1600779"/>
            <a:ext cx="5287926" cy="511544"/>
          </a:xfrm>
          <a:prstGeom prst="rect">
            <a:avLst/>
          </a:prstGeom>
          <a:solidFill>
            <a:srgbClr val="F6F42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sp>
        <p:nvSpPr>
          <p:cNvPr id="8" name="Rectangle 179"/>
          <p:cNvSpPr/>
          <p:nvPr/>
        </p:nvSpPr>
        <p:spPr>
          <a:xfrm>
            <a:off x="6510683" y="1621116"/>
            <a:ext cx="4837801" cy="4708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0" algn="ctr">
              <a:lnSpc>
                <a:spcPct val="100000"/>
              </a:lnSpc>
              <a:spcAft>
                <a:spcPts val="0"/>
              </a:spcAft>
            </a:pP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itchFamily="34" charset="-52"/>
                <a:ea typeface="Open Sans" panose="020B0606030504020204" pitchFamily="34" charset="0"/>
                <a:cs typeface="Open Sans" panose="020B0606030504020204" pitchFamily="34" charset="0"/>
              </a:rPr>
              <a:t>Сокращенное описание товара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EF6A83E-0384-4739-A6F8-F46D9356DC44}"/>
              </a:ext>
            </a:extLst>
          </p:cNvPr>
          <p:cNvSpPr txBox="1"/>
          <p:nvPr/>
        </p:nvSpPr>
        <p:spPr>
          <a:xfrm>
            <a:off x="6670169" y="3159020"/>
            <a:ext cx="447277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itchFamily="34" charset="-52"/>
                <a:ea typeface="Open Sans" panose="020B0606030504020204" pitchFamily="34" charset="0"/>
                <a:cs typeface="Open Sans" panose="020B0606030504020204" pitchFamily="34" charset="0"/>
              </a:rPr>
              <a:t>Пол обуви (мужская, женская, детская)</a:t>
            </a:r>
          </a:p>
          <a:p>
            <a:pPr marL="171450" lvl="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itchFamily="34" charset="-52"/>
                <a:ea typeface="Open Sans" panose="020B0606030504020204" pitchFamily="34" charset="0"/>
                <a:cs typeface="Open Sans" panose="020B0606030504020204" pitchFamily="34" charset="0"/>
              </a:rPr>
              <a:t>ИНН собственника товара</a:t>
            </a:r>
          </a:p>
          <a:p>
            <a:pPr marL="171450" lvl="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itchFamily="34" charset="-52"/>
                <a:ea typeface="Open Sans" panose="020B0606030504020204" pitchFamily="34" charset="0"/>
                <a:cs typeface="Open Sans" panose="020B0606030504020204" pitchFamily="34" charset="0"/>
              </a:rPr>
              <a:t>2 знака кода ТНВЭД ЕАЭС = группа «64»</a:t>
            </a:r>
          </a:p>
          <a:p>
            <a:pPr marL="171450" lvl="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itchFamily="34" charset="-52"/>
                <a:ea typeface="Open Sans" panose="020B0606030504020204" pitchFamily="34" charset="0"/>
                <a:cs typeface="Open Sans" panose="020B0606030504020204" pitchFamily="34" charset="0"/>
              </a:rPr>
              <a:t>Способ ввода товара в оборот (Ввезен в РФ, Произведен в РФ) </a:t>
            </a:r>
          </a:p>
        </p:txBody>
      </p:sp>
      <p:sp>
        <p:nvSpPr>
          <p:cNvPr id="14" name="Rectangle 7"/>
          <p:cNvSpPr/>
          <p:nvPr/>
        </p:nvSpPr>
        <p:spPr>
          <a:xfrm>
            <a:off x="531629" y="2352150"/>
            <a:ext cx="5425912" cy="564715"/>
          </a:xfrm>
          <a:prstGeom prst="rect">
            <a:avLst/>
          </a:prstGeom>
          <a:solidFill>
            <a:schemeClr val="bg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sp>
        <p:nvSpPr>
          <p:cNvPr id="15" name="Rectangle 179"/>
          <p:cNvSpPr/>
          <p:nvPr/>
        </p:nvSpPr>
        <p:spPr>
          <a:xfrm>
            <a:off x="850605" y="2393748"/>
            <a:ext cx="4724157" cy="4708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itchFamily="34" charset="-52"/>
                <a:ea typeface="Open Sans" panose="020B0606030504020204" pitchFamily="34" charset="0"/>
                <a:cs typeface="Open Sans" panose="020B0606030504020204" pitchFamily="34" charset="0"/>
              </a:rPr>
              <a:t>УОТ член ГС 1 и/или имеет возможность полностью описать товар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520995" y="1853603"/>
            <a:ext cx="5425913" cy="4593265"/>
          </a:xfrm>
          <a:prstGeom prst="rect">
            <a:avLst/>
          </a:prstGeom>
          <a:noFill/>
          <a:ln w="25400">
            <a:solidFill>
              <a:srgbClr val="59595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" name="Rectangle 7"/>
          <p:cNvSpPr/>
          <p:nvPr/>
        </p:nvSpPr>
        <p:spPr>
          <a:xfrm>
            <a:off x="489098" y="1600779"/>
            <a:ext cx="5486399" cy="511544"/>
          </a:xfrm>
          <a:prstGeom prst="rect">
            <a:avLst/>
          </a:prstGeom>
          <a:solidFill>
            <a:srgbClr val="F6F42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sp>
        <p:nvSpPr>
          <p:cNvPr id="6" name="Rectangle 179"/>
          <p:cNvSpPr/>
          <p:nvPr/>
        </p:nvSpPr>
        <p:spPr>
          <a:xfrm>
            <a:off x="797455" y="1621116"/>
            <a:ext cx="4837801" cy="4708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0" algn="ctr">
              <a:lnSpc>
                <a:spcPct val="100000"/>
              </a:lnSpc>
              <a:spcAft>
                <a:spcPts val="0"/>
              </a:spcAft>
            </a:pP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itchFamily="34" charset="-52"/>
                <a:ea typeface="Open Sans" panose="020B0606030504020204" pitchFamily="34" charset="0"/>
                <a:cs typeface="Open Sans" panose="020B0606030504020204" pitchFamily="34" charset="0"/>
              </a:rPr>
              <a:t>Полное описание товара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7"/>
          <p:cNvSpPr/>
          <p:nvPr/>
        </p:nvSpPr>
        <p:spPr>
          <a:xfrm>
            <a:off x="6234223" y="2348612"/>
            <a:ext cx="5270205" cy="564715"/>
          </a:xfrm>
          <a:prstGeom prst="rect">
            <a:avLst/>
          </a:prstGeom>
          <a:solidFill>
            <a:schemeClr val="bg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sp>
        <p:nvSpPr>
          <p:cNvPr id="11" name="Rectangle 179"/>
          <p:cNvSpPr/>
          <p:nvPr/>
        </p:nvSpPr>
        <p:spPr>
          <a:xfrm>
            <a:off x="6652445" y="2390210"/>
            <a:ext cx="4469205" cy="4708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itchFamily="34" charset="-52"/>
                <a:ea typeface="Open Sans" panose="020B0606030504020204" pitchFamily="34" charset="0"/>
                <a:cs typeface="Open Sans" panose="020B0606030504020204" pitchFamily="34" charset="0"/>
              </a:rPr>
              <a:t>УОТ НЕ имеет возможность полностью </a:t>
            </a:r>
          </a:p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itchFamily="34" charset="-52"/>
                <a:ea typeface="Open Sans" panose="020B0606030504020204" pitchFamily="34" charset="0"/>
                <a:cs typeface="Open Sans" panose="020B0606030504020204" pitchFamily="34" charset="0"/>
              </a:rPr>
              <a:t>описать товар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6251945" y="1850065"/>
            <a:ext cx="5241851" cy="4593265"/>
          </a:xfrm>
          <a:prstGeom prst="rect">
            <a:avLst/>
          </a:prstGeom>
          <a:noFill/>
          <a:ln w="25400">
            <a:solidFill>
              <a:srgbClr val="59595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3D7F2A8-98B9-9B47-8E0B-9FC19F12B9B1}"/>
              </a:ext>
            </a:extLst>
          </p:cNvPr>
          <p:cNvSpPr txBox="1">
            <a:spLocks/>
          </p:cNvSpPr>
          <p:nvPr/>
        </p:nvSpPr>
        <p:spPr>
          <a:xfrm>
            <a:off x="607104" y="430248"/>
            <a:ext cx="10879446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defTabSz="931016"/>
            <a:r>
              <a:rPr lang="ru-RU" dirty="0"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Описание товаров легкой промышленности</a:t>
            </a:r>
            <a:endParaRPr lang="bg-BG" dirty="0">
              <a:latin typeface="PT Sans Caption" pitchFamily="34" charset="-52"/>
              <a:cs typeface="Helvetica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F6A83E-0384-4739-A6F8-F46D9356DC44}"/>
              </a:ext>
            </a:extLst>
          </p:cNvPr>
          <p:cNvSpPr txBox="1"/>
          <p:nvPr/>
        </p:nvSpPr>
        <p:spPr>
          <a:xfrm>
            <a:off x="606060" y="3159020"/>
            <a:ext cx="5241851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код товара (при наличии)</a:t>
            </a:r>
          </a:p>
          <a:p>
            <a:pPr marL="171450" lvl="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номер регламента (стандарта)</a:t>
            </a:r>
          </a:p>
          <a:p>
            <a:pPr marL="171450" lvl="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страна производства в соответствии с Общероссийским классификатором стран мира</a:t>
            </a:r>
          </a:p>
          <a:p>
            <a:pPr marL="171450" lvl="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4 знака кода единой Товарной номенклатуры внешнеэкономической деятельности Евразийского экономического союза (далее </a:t>
            </a:r>
            <a:r>
              <a:rPr lang="ru-RU" sz="1200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  <a:t>—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 товарная номенклатура)</a:t>
            </a:r>
          </a:p>
          <a:p>
            <a:pPr marL="171450" lvl="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наименование товара на этикетке и (или) ярлыке</a:t>
            </a:r>
          </a:p>
          <a:p>
            <a:pPr marL="171450" lvl="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вид изделия</a:t>
            </a:r>
          </a:p>
          <a:p>
            <a:pPr marL="171450" lvl="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целевой пол</a:t>
            </a:r>
          </a:p>
          <a:p>
            <a:pPr marL="171450" lvl="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состав сырья</a:t>
            </a:r>
          </a:p>
          <a:p>
            <a:pPr marL="171450" lvl="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цвет</a:t>
            </a:r>
          </a:p>
          <a:p>
            <a:pPr marL="171450" lvl="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размер изделия</a:t>
            </a:r>
          </a:p>
          <a:p>
            <a:pPr marL="171450" lvl="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модель изделия</a:t>
            </a:r>
          </a:p>
          <a:p>
            <a:pPr marL="171450" lvl="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товарный знак (при наличии)</a:t>
            </a:r>
          </a:p>
        </p:txBody>
      </p:sp>
      <p:sp>
        <p:nvSpPr>
          <p:cNvPr id="7" name="Rectangle 7"/>
          <p:cNvSpPr/>
          <p:nvPr/>
        </p:nvSpPr>
        <p:spPr>
          <a:xfrm>
            <a:off x="6230679" y="1600779"/>
            <a:ext cx="5287926" cy="511544"/>
          </a:xfrm>
          <a:prstGeom prst="rect">
            <a:avLst/>
          </a:prstGeom>
          <a:solidFill>
            <a:srgbClr val="F6F42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sp>
        <p:nvSpPr>
          <p:cNvPr id="8" name="Rectangle 179"/>
          <p:cNvSpPr/>
          <p:nvPr/>
        </p:nvSpPr>
        <p:spPr>
          <a:xfrm>
            <a:off x="6510683" y="1621116"/>
            <a:ext cx="4837801" cy="4708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0" algn="ctr">
              <a:lnSpc>
                <a:spcPct val="100000"/>
              </a:lnSpc>
              <a:spcAft>
                <a:spcPts val="0"/>
              </a:spcAft>
            </a:pP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itchFamily="34" charset="-52"/>
                <a:ea typeface="Open Sans" panose="020B0606030504020204" pitchFamily="34" charset="0"/>
                <a:cs typeface="Open Sans" panose="020B0606030504020204" pitchFamily="34" charset="0"/>
              </a:rPr>
              <a:t>Сокращенное описание товара</a:t>
            </a:r>
          </a:p>
          <a:p>
            <a:pPr indent="0" algn="ctr">
              <a:lnSpc>
                <a:spcPct val="100000"/>
              </a:lnSpc>
              <a:spcAft>
                <a:spcPts val="0"/>
              </a:spcAft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itchFamily="34" charset="-52"/>
                <a:ea typeface="Open Sans" panose="020B0606030504020204" pitchFamily="34" charset="0"/>
                <a:cs typeface="Open Sans" panose="020B0606030504020204" pitchFamily="34" charset="0"/>
              </a:rPr>
              <a:t>(для остатков продукции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EF6A83E-0384-4739-A6F8-F46D9356DC44}"/>
              </a:ext>
            </a:extLst>
          </p:cNvPr>
          <p:cNvSpPr txBox="1"/>
          <p:nvPr/>
        </p:nvSpPr>
        <p:spPr>
          <a:xfrm>
            <a:off x="6670169" y="3159020"/>
            <a:ext cx="411124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itchFamily="34" charset="-52"/>
                <a:ea typeface="Open Sans" panose="020B0606030504020204" pitchFamily="34" charset="0"/>
                <a:cs typeface="Open Sans" panose="020B0606030504020204" pitchFamily="34" charset="0"/>
              </a:rPr>
              <a:t>ИНН собственника товара</a:t>
            </a:r>
          </a:p>
          <a:p>
            <a:pPr marL="17145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itchFamily="34" charset="-52"/>
                <a:ea typeface="Open Sans" panose="020B0606030504020204" pitchFamily="34" charset="0"/>
                <a:cs typeface="Open Sans" panose="020B0606030504020204" pitchFamily="34" charset="0"/>
              </a:rPr>
              <a:t>2 знака кода товарной номенклатуры</a:t>
            </a:r>
          </a:p>
          <a:p>
            <a:pPr marL="171450" lvl="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itchFamily="34" charset="-52"/>
                <a:ea typeface="Open Sans" panose="020B0606030504020204" pitchFamily="34" charset="0"/>
                <a:cs typeface="Open Sans" panose="020B0606030504020204" pitchFamily="34" charset="0"/>
              </a:rPr>
              <a:t>Целевой пол (мужская, женская, детская)</a:t>
            </a:r>
          </a:p>
          <a:p>
            <a:pPr marL="171450" lvl="0" indent="-171450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itchFamily="34" charset="-52"/>
                <a:ea typeface="Open Sans" panose="020B0606030504020204" pitchFamily="34" charset="0"/>
                <a:cs typeface="Open Sans" panose="020B0606030504020204" pitchFamily="34" charset="0"/>
              </a:rPr>
              <a:t>Способ ввода товаров легкой промышленности в оборот (Ввезен в РФ, Произведен в РФ) </a:t>
            </a:r>
          </a:p>
        </p:txBody>
      </p:sp>
      <p:sp>
        <p:nvSpPr>
          <p:cNvPr id="14" name="Rectangle 7"/>
          <p:cNvSpPr/>
          <p:nvPr/>
        </p:nvSpPr>
        <p:spPr>
          <a:xfrm>
            <a:off x="531629" y="2352150"/>
            <a:ext cx="5425912" cy="564715"/>
          </a:xfrm>
          <a:prstGeom prst="rect">
            <a:avLst/>
          </a:prstGeom>
          <a:solidFill>
            <a:schemeClr val="bg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sp>
        <p:nvSpPr>
          <p:cNvPr id="15" name="Rectangle 179"/>
          <p:cNvSpPr/>
          <p:nvPr/>
        </p:nvSpPr>
        <p:spPr>
          <a:xfrm>
            <a:off x="850605" y="2393748"/>
            <a:ext cx="4724157" cy="4708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itchFamily="34" charset="-52"/>
                <a:ea typeface="Open Sans" panose="020B0606030504020204" pitchFamily="34" charset="0"/>
                <a:cs typeface="Open Sans" panose="020B0606030504020204" pitchFamily="34" charset="0"/>
              </a:rPr>
              <a:t>УОТ имеет возможность полностью </a:t>
            </a:r>
          </a:p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itchFamily="34" charset="-52"/>
                <a:ea typeface="Open Sans" panose="020B0606030504020204" pitchFamily="34" charset="0"/>
                <a:cs typeface="Open Sans" panose="020B0606030504020204" pitchFamily="34" charset="0"/>
              </a:rPr>
              <a:t>описать товар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520995" y="1853603"/>
            <a:ext cx="5425913" cy="4593265"/>
          </a:xfrm>
          <a:prstGeom prst="rect">
            <a:avLst/>
          </a:prstGeom>
          <a:noFill/>
          <a:ln w="25400">
            <a:solidFill>
              <a:srgbClr val="59595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" name="Rectangle 7"/>
          <p:cNvSpPr/>
          <p:nvPr/>
        </p:nvSpPr>
        <p:spPr>
          <a:xfrm>
            <a:off x="489098" y="1600779"/>
            <a:ext cx="5486399" cy="511544"/>
          </a:xfrm>
          <a:prstGeom prst="rect">
            <a:avLst/>
          </a:prstGeom>
          <a:solidFill>
            <a:srgbClr val="F6F42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sp>
        <p:nvSpPr>
          <p:cNvPr id="6" name="Rectangle 179"/>
          <p:cNvSpPr/>
          <p:nvPr/>
        </p:nvSpPr>
        <p:spPr>
          <a:xfrm>
            <a:off x="797455" y="1621116"/>
            <a:ext cx="4837801" cy="4708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0" algn="ctr">
              <a:lnSpc>
                <a:spcPct val="100000"/>
              </a:lnSpc>
              <a:spcAft>
                <a:spcPts val="0"/>
              </a:spcAft>
            </a:pP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itchFamily="34" charset="-52"/>
                <a:ea typeface="Open Sans" panose="020B0606030504020204" pitchFamily="34" charset="0"/>
                <a:cs typeface="Open Sans" panose="020B0606030504020204" pitchFamily="34" charset="0"/>
              </a:rPr>
              <a:t>Полное описание товара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3D7F2A8-98B9-9B47-8E0B-9FC19F12B9B1}"/>
              </a:ext>
            </a:extLst>
          </p:cNvPr>
          <p:cNvSpPr txBox="1">
            <a:spLocks/>
          </p:cNvSpPr>
          <p:nvPr/>
        </p:nvSpPr>
        <p:spPr>
          <a:xfrm>
            <a:off x="607104" y="430248"/>
            <a:ext cx="10879446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defTabSz="931016"/>
            <a:r>
              <a:rPr lang="ru-RU" dirty="0">
                <a:latin typeface="PT Sans Caption" pitchFamily="34" charset="-52"/>
                <a:ea typeface="Tahoma" panose="020B0604030504040204" pitchFamily="34" charset="0"/>
                <a:cs typeface="Tahoma" panose="020B0604030504040204" pitchFamily="34" charset="0"/>
              </a:rPr>
              <a:t>Эмиссия кодов</a:t>
            </a:r>
            <a:endParaRPr lang="bg-BG" dirty="0">
              <a:latin typeface="PT Sans Caption" pitchFamily="34" charset="-52"/>
              <a:cs typeface="Helvetica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AF8BB23-3730-4F84-BFBA-607BC89A4024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623439" y="1317604"/>
            <a:ext cx="7340694" cy="2778936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841249D-CF67-4B32-B840-BE66E51C98CA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021035" y="4230219"/>
            <a:ext cx="8133059" cy="2343136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371DB845-76EA-42E5-BDB7-F5112E7A4B2E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 rot="16200000">
            <a:off x="5708424" y="4086967"/>
            <a:ext cx="734491" cy="39784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" name="Рисунок 95" descr="icon-16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799969" y="1728319"/>
            <a:ext cx="941614" cy="857290"/>
          </a:xfrm>
          <a:prstGeom prst="rect">
            <a:avLst/>
          </a:prstGeom>
        </p:spPr>
      </p:pic>
      <p:cxnSp>
        <p:nvCxnSpPr>
          <p:cNvPr id="64" name="Straight Connector 26">
            <a:extLst>
              <a:ext uri="{FF2B5EF4-FFF2-40B4-BE49-F238E27FC236}">
                <a16:creationId xmlns:a16="http://schemas.microsoft.com/office/drawing/2014/main" id="{46A05292-30AA-944A-B13B-9158E7DF1A5E}"/>
              </a:ext>
            </a:extLst>
          </p:cNvPr>
          <p:cNvCxnSpPr/>
          <p:nvPr/>
        </p:nvCxnSpPr>
        <p:spPr>
          <a:xfrm rot="10800000" flipH="1">
            <a:off x="10182906" y="4851988"/>
            <a:ext cx="11030" cy="396000"/>
          </a:xfrm>
          <a:prstGeom prst="line">
            <a:avLst/>
          </a:prstGeom>
          <a:ln w="25400" cap="rnd">
            <a:solidFill>
              <a:srgbClr val="595959"/>
            </a:solidFill>
            <a:prstDash val="sysDot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tangle 7"/>
          <p:cNvSpPr/>
          <p:nvPr/>
        </p:nvSpPr>
        <p:spPr>
          <a:xfrm>
            <a:off x="8513129" y="3990775"/>
            <a:ext cx="3026746" cy="1010091"/>
          </a:xfrm>
          <a:prstGeom prst="rect">
            <a:avLst/>
          </a:prstGeom>
          <a:solidFill>
            <a:srgbClr val="F6F42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cxnSp>
        <p:nvCxnSpPr>
          <p:cNvPr id="63" name="Straight Connector 26">
            <a:extLst>
              <a:ext uri="{FF2B5EF4-FFF2-40B4-BE49-F238E27FC236}">
                <a16:creationId xmlns:a16="http://schemas.microsoft.com/office/drawing/2014/main" id="{46A05292-30AA-944A-B13B-9158E7DF1A5E}"/>
              </a:ext>
            </a:extLst>
          </p:cNvPr>
          <p:cNvCxnSpPr/>
          <p:nvPr/>
        </p:nvCxnSpPr>
        <p:spPr>
          <a:xfrm rot="10800000" flipH="1">
            <a:off x="2130515" y="4859076"/>
            <a:ext cx="11030" cy="396000"/>
          </a:xfrm>
          <a:prstGeom prst="line">
            <a:avLst/>
          </a:prstGeom>
          <a:ln w="25400" cap="rnd">
            <a:solidFill>
              <a:srgbClr val="595959"/>
            </a:solidFill>
            <a:prstDash val="sysDot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tangle 7"/>
          <p:cNvSpPr/>
          <p:nvPr/>
        </p:nvSpPr>
        <p:spPr>
          <a:xfrm>
            <a:off x="623771" y="3980143"/>
            <a:ext cx="3026746" cy="1010091"/>
          </a:xfrm>
          <a:prstGeom prst="rect">
            <a:avLst/>
          </a:prstGeom>
          <a:solidFill>
            <a:srgbClr val="F6F42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cxnSp>
        <p:nvCxnSpPr>
          <p:cNvPr id="37" name="Straight Connector 26">
            <a:extLst>
              <a:ext uri="{FF2B5EF4-FFF2-40B4-BE49-F238E27FC236}">
                <a16:creationId xmlns:a16="http://schemas.microsoft.com/office/drawing/2014/main" id="{46A05292-30AA-944A-B13B-9158E7DF1A5E}"/>
              </a:ext>
            </a:extLst>
          </p:cNvPr>
          <p:cNvCxnSpPr/>
          <p:nvPr/>
        </p:nvCxnSpPr>
        <p:spPr>
          <a:xfrm rot="10800000" flipH="1">
            <a:off x="2130515" y="2459663"/>
            <a:ext cx="11030" cy="396000"/>
          </a:xfrm>
          <a:prstGeom prst="line">
            <a:avLst/>
          </a:prstGeom>
          <a:ln w="25400" cap="rnd">
            <a:solidFill>
              <a:srgbClr val="595959"/>
            </a:solidFill>
            <a:prstDash val="sysDot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26">
            <a:extLst>
              <a:ext uri="{FF2B5EF4-FFF2-40B4-BE49-F238E27FC236}">
                <a16:creationId xmlns:a16="http://schemas.microsoft.com/office/drawing/2014/main" id="{46A05292-30AA-944A-B13B-9158E7DF1A5E}"/>
              </a:ext>
            </a:extLst>
          </p:cNvPr>
          <p:cNvCxnSpPr/>
          <p:nvPr/>
        </p:nvCxnSpPr>
        <p:spPr>
          <a:xfrm rot="10800000" flipH="1">
            <a:off x="2130515" y="3579625"/>
            <a:ext cx="11030" cy="396000"/>
          </a:xfrm>
          <a:prstGeom prst="line">
            <a:avLst/>
          </a:prstGeom>
          <a:ln w="25400" cap="rnd">
            <a:solidFill>
              <a:srgbClr val="595959"/>
            </a:solidFill>
            <a:prstDash val="sysDot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7"/>
          <p:cNvSpPr/>
          <p:nvPr/>
        </p:nvSpPr>
        <p:spPr>
          <a:xfrm>
            <a:off x="641507" y="2860177"/>
            <a:ext cx="2973568" cy="871869"/>
          </a:xfrm>
          <a:prstGeom prst="rect">
            <a:avLst/>
          </a:prstGeom>
          <a:solidFill>
            <a:schemeClr val="bg1"/>
          </a:solidFill>
          <a:ln w="19050" cap="rnd" cmpd="sng" algn="ctr">
            <a:solidFill>
              <a:srgbClr val="595959"/>
            </a:solidFill>
            <a:prstDash val="sysDot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pic>
        <p:nvPicPr>
          <p:cNvPr id="58" name="Рисунок 57" descr="icon-17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802119" y="2902689"/>
            <a:ext cx="860947" cy="783848"/>
          </a:xfrm>
          <a:prstGeom prst="rect">
            <a:avLst/>
          </a:prstGeom>
        </p:spPr>
      </p:pic>
      <p:sp>
        <p:nvSpPr>
          <p:cNvPr id="35" name="Rectangle 7"/>
          <p:cNvSpPr/>
          <p:nvPr/>
        </p:nvSpPr>
        <p:spPr>
          <a:xfrm>
            <a:off x="641507" y="1754367"/>
            <a:ext cx="2973568" cy="850617"/>
          </a:xfrm>
          <a:prstGeom prst="rect">
            <a:avLst/>
          </a:prstGeom>
          <a:solidFill>
            <a:schemeClr val="bg1"/>
          </a:solidFill>
          <a:ln w="19050" cap="rnd" cmpd="sng" algn="ctr">
            <a:solidFill>
              <a:srgbClr val="595959"/>
            </a:solidFill>
            <a:prstDash val="sysDot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sp>
        <p:nvSpPr>
          <p:cNvPr id="26" name="Rectangle 7"/>
          <p:cNvSpPr/>
          <p:nvPr/>
        </p:nvSpPr>
        <p:spPr>
          <a:xfrm>
            <a:off x="641507" y="3983690"/>
            <a:ext cx="2994833" cy="988786"/>
          </a:xfrm>
          <a:prstGeom prst="rect">
            <a:avLst/>
          </a:prstGeom>
          <a:noFill/>
          <a:ln w="19050" cap="rnd" cmpd="sng" algn="ctr">
            <a:solidFill>
              <a:srgbClr val="595959"/>
            </a:solidFill>
            <a:prstDash val="sysDot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sp>
        <p:nvSpPr>
          <p:cNvPr id="30" name="Rectangle 7"/>
          <p:cNvSpPr/>
          <p:nvPr/>
        </p:nvSpPr>
        <p:spPr>
          <a:xfrm>
            <a:off x="4564906" y="3976599"/>
            <a:ext cx="3026746" cy="1010091"/>
          </a:xfrm>
          <a:prstGeom prst="rect">
            <a:avLst/>
          </a:prstGeom>
          <a:solidFill>
            <a:srgbClr val="F6F42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sp>
        <p:nvSpPr>
          <p:cNvPr id="31" name="Rectangle 179"/>
          <p:cNvSpPr/>
          <p:nvPr/>
        </p:nvSpPr>
        <p:spPr>
          <a:xfrm>
            <a:off x="5755760" y="1900399"/>
            <a:ext cx="1860695" cy="49830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114"/>
              </a:spcBef>
            </a:pPr>
            <a:r>
              <a:rPr lang="ru-RU" sz="1400" b="1" spc="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Агрегирование</a:t>
            </a:r>
            <a:endParaRPr lang="ru-RU" sz="1400" b="1" dirty="0"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cxnSp>
        <p:nvCxnSpPr>
          <p:cNvPr id="20" name="Straight Connector 26">
            <a:extLst>
              <a:ext uri="{FF2B5EF4-FFF2-40B4-BE49-F238E27FC236}">
                <a16:creationId xmlns:a16="http://schemas.microsoft.com/office/drawing/2014/main" id="{46A05292-30AA-944A-B13B-9158E7DF1A5E}"/>
              </a:ext>
            </a:extLst>
          </p:cNvPr>
          <p:cNvCxnSpPr/>
          <p:nvPr/>
        </p:nvCxnSpPr>
        <p:spPr>
          <a:xfrm rot="5400000" flipH="1">
            <a:off x="4102514" y="4043509"/>
            <a:ext cx="11030" cy="900000"/>
          </a:xfrm>
          <a:prstGeom prst="line">
            <a:avLst/>
          </a:prstGeom>
          <a:ln w="25400" cap="rnd">
            <a:solidFill>
              <a:srgbClr val="595959"/>
            </a:solidFill>
            <a:prstDash val="sysDot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179"/>
          <p:cNvSpPr/>
          <p:nvPr/>
        </p:nvSpPr>
        <p:spPr>
          <a:xfrm>
            <a:off x="5677780" y="4240261"/>
            <a:ext cx="1860695" cy="49830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114"/>
              </a:spcBef>
            </a:pPr>
            <a:r>
              <a:rPr lang="ru-RU" sz="1400" b="1" spc="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ередача прав</a:t>
            </a:r>
            <a:endParaRPr lang="ru-RU" sz="1400" b="1" dirty="0"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AFCB3B52-1DEC-4006-AF31-033E74C922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66" y="1621"/>
          <a:ext cx="1621" cy="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66" y="1621"/>
                        <a:ext cx="1621" cy="162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7BD063C1-0254-4038-BBAB-D5E42DD296D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45" y="0"/>
            <a:ext cx="162051" cy="162051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3D7F2A8-98B9-9B47-8E0B-9FC19F12B9B1}"/>
              </a:ext>
            </a:extLst>
          </p:cNvPr>
          <p:cNvSpPr txBox="1">
            <a:spLocks/>
          </p:cNvSpPr>
          <p:nvPr/>
        </p:nvSpPr>
        <p:spPr>
          <a:xfrm>
            <a:off x="607104" y="430248"/>
            <a:ext cx="10879446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defTabSz="931016"/>
            <a:r>
              <a:rPr lang="ru-RU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Модель функционирования системы маркировки</a:t>
            </a:r>
            <a:endParaRPr lang="bg-BG" dirty="0">
              <a:cs typeface="Helvetica"/>
            </a:endParaRPr>
          </a:p>
        </p:txBody>
      </p:sp>
      <p:sp>
        <p:nvSpPr>
          <p:cNvPr id="13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3972311" y="5870488"/>
            <a:ext cx="1562287" cy="21544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spc="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еремаркировка</a:t>
            </a:r>
            <a:endParaRPr lang="ru-RU" sz="1400" dirty="0"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sp>
        <p:nvSpPr>
          <p:cNvPr id="15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7505869" y="5406201"/>
            <a:ext cx="1009315" cy="67197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spc="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Розничная </a:t>
            </a:r>
          </a:p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spc="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родажа </a:t>
            </a:r>
          </a:p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spc="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через ККТ</a:t>
            </a:r>
            <a:endParaRPr lang="ru-RU" sz="1400" dirty="0"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sp>
        <p:nvSpPr>
          <p:cNvPr id="18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10402517" y="5530245"/>
            <a:ext cx="867545" cy="44371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spc="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рочие </a:t>
            </a:r>
          </a:p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spc="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ричины </a:t>
            </a:r>
          </a:p>
        </p:txBody>
      </p:sp>
      <p:sp>
        <p:nvSpPr>
          <p:cNvPr id="27" name="Rectangle 179"/>
          <p:cNvSpPr/>
          <p:nvPr/>
        </p:nvSpPr>
        <p:spPr>
          <a:xfrm>
            <a:off x="1754382" y="4233173"/>
            <a:ext cx="1860695" cy="49830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1" spc="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Ввод в оборот</a:t>
            </a:r>
            <a:endParaRPr lang="ru-RU" sz="1400" b="1" dirty="0"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sp>
        <p:nvSpPr>
          <p:cNvPr id="29" name="Rectangle 179"/>
          <p:cNvSpPr/>
          <p:nvPr/>
        </p:nvSpPr>
        <p:spPr>
          <a:xfrm>
            <a:off x="9668544" y="4254439"/>
            <a:ext cx="1860695" cy="49830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114"/>
              </a:spcBef>
            </a:pPr>
            <a:r>
              <a:rPr lang="ru-RU" sz="1400" b="1" spc="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Вывод из оборота</a:t>
            </a:r>
            <a:endParaRPr lang="ru-RU" sz="1400" b="1" dirty="0"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cxnSp>
        <p:nvCxnSpPr>
          <p:cNvPr id="32" name="Straight Connector 26">
            <a:extLst>
              <a:ext uri="{FF2B5EF4-FFF2-40B4-BE49-F238E27FC236}">
                <a16:creationId xmlns:a16="http://schemas.microsoft.com/office/drawing/2014/main" id="{46A05292-30AA-944A-B13B-9158E7DF1A5E}"/>
              </a:ext>
            </a:extLst>
          </p:cNvPr>
          <p:cNvCxnSpPr/>
          <p:nvPr/>
        </p:nvCxnSpPr>
        <p:spPr>
          <a:xfrm rot="10800000" flipH="1">
            <a:off x="6158477" y="2589919"/>
            <a:ext cx="11030" cy="1368000"/>
          </a:xfrm>
          <a:prstGeom prst="line">
            <a:avLst/>
          </a:prstGeom>
          <a:ln w="25400" cap="rnd">
            <a:solidFill>
              <a:srgbClr val="595959"/>
            </a:solidFill>
            <a:prstDash val="sysDot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179"/>
          <p:cNvSpPr/>
          <p:nvPr/>
        </p:nvSpPr>
        <p:spPr>
          <a:xfrm>
            <a:off x="1775648" y="3045924"/>
            <a:ext cx="1860695" cy="49830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1" spc="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Эмиссия кодов</a:t>
            </a:r>
            <a:endParaRPr lang="ru-RU" sz="1400" b="1" dirty="0"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sp>
        <p:nvSpPr>
          <p:cNvPr id="36" name="Rectangle 179"/>
          <p:cNvSpPr/>
          <p:nvPr/>
        </p:nvSpPr>
        <p:spPr>
          <a:xfrm>
            <a:off x="1679951" y="1889770"/>
            <a:ext cx="1956391" cy="49830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1" spc="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Описание товаров</a:t>
            </a:r>
            <a:endParaRPr lang="ru-RU" sz="1400" b="1" dirty="0"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sp>
        <p:nvSpPr>
          <p:cNvPr id="39" name="Rectangle 179"/>
          <p:cNvSpPr/>
          <p:nvPr/>
        </p:nvSpPr>
        <p:spPr>
          <a:xfrm>
            <a:off x="1314884" y="5491357"/>
            <a:ext cx="1860695" cy="49830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114"/>
              </a:spcBef>
            </a:pPr>
            <a:r>
              <a:rPr lang="ru-RU" sz="1400" b="1" spc="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Новый товар</a:t>
            </a:r>
            <a:endParaRPr lang="ru-RU" sz="1400" b="1" dirty="0"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C1A7DFBB-08CE-44F2-83EC-8E71DEF5C28E}"/>
              </a:ext>
            </a:extLst>
          </p:cNvPr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6427958" y="5273740"/>
            <a:ext cx="874529" cy="858334"/>
          </a:xfrm>
          <a:prstGeom prst="rect">
            <a:avLst/>
          </a:prstGeom>
        </p:spPr>
      </p:pic>
      <p:sp>
        <p:nvSpPr>
          <p:cNvPr id="43" name="Rectangle 7"/>
          <p:cNvSpPr/>
          <p:nvPr/>
        </p:nvSpPr>
        <p:spPr>
          <a:xfrm>
            <a:off x="4589726" y="1768544"/>
            <a:ext cx="3001924" cy="804542"/>
          </a:xfrm>
          <a:prstGeom prst="rect">
            <a:avLst/>
          </a:prstGeom>
          <a:noFill/>
          <a:ln w="19050" cap="rnd" cmpd="sng" algn="ctr">
            <a:solidFill>
              <a:srgbClr val="595959"/>
            </a:solidFill>
            <a:prstDash val="sysDot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sp>
        <p:nvSpPr>
          <p:cNvPr id="44" name="Rectangle 7"/>
          <p:cNvSpPr/>
          <p:nvPr/>
        </p:nvSpPr>
        <p:spPr>
          <a:xfrm>
            <a:off x="4582639" y="3987234"/>
            <a:ext cx="3001924" cy="988786"/>
          </a:xfrm>
          <a:prstGeom prst="rect">
            <a:avLst/>
          </a:prstGeom>
          <a:noFill/>
          <a:ln w="19050" cap="rnd" cmpd="sng" algn="ctr">
            <a:solidFill>
              <a:srgbClr val="595959"/>
            </a:solidFill>
            <a:prstDash val="sysDot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sp>
        <p:nvSpPr>
          <p:cNvPr id="46" name="Rectangle 7"/>
          <p:cNvSpPr/>
          <p:nvPr/>
        </p:nvSpPr>
        <p:spPr>
          <a:xfrm>
            <a:off x="6283853" y="5238350"/>
            <a:ext cx="2378149" cy="988786"/>
          </a:xfrm>
          <a:prstGeom prst="rect">
            <a:avLst/>
          </a:prstGeom>
          <a:noFill/>
          <a:ln w="19050" cap="rnd" cmpd="sng" algn="ctr">
            <a:solidFill>
              <a:srgbClr val="595959"/>
            </a:solidFill>
            <a:prstDash val="sysDot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sp>
        <p:nvSpPr>
          <p:cNvPr id="47" name="Rectangle 7"/>
          <p:cNvSpPr/>
          <p:nvPr/>
        </p:nvSpPr>
        <p:spPr>
          <a:xfrm>
            <a:off x="9126286" y="5238350"/>
            <a:ext cx="2378149" cy="988786"/>
          </a:xfrm>
          <a:prstGeom prst="rect">
            <a:avLst/>
          </a:prstGeom>
          <a:noFill/>
          <a:ln w="19050" cap="rnd" cmpd="sng" algn="ctr">
            <a:solidFill>
              <a:srgbClr val="595959"/>
            </a:solidFill>
            <a:prstDash val="sysDot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sp>
        <p:nvSpPr>
          <p:cNvPr id="48" name="Rectangle 7"/>
          <p:cNvSpPr/>
          <p:nvPr/>
        </p:nvSpPr>
        <p:spPr>
          <a:xfrm>
            <a:off x="641507" y="5238350"/>
            <a:ext cx="2378149" cy="988786"/>
          </a:xfrm>
          <a:prstGeom prst="rect">
            <a:avLst/>
          </a:prstGeom>
          <a:noFill/>
          <a:ln w="19050" cap="rnd" cmpd="sng" algn="ctr">
            <a:solidFill>
              <a:srgbClr val="595959"/>
            </a:solidFill>
            <a:prstDash val="sysDot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sp>
        <p:nvSpPr>
          <p:cNvPr id="49" name="Rectangle 7"/>
          <p:cNvSpPr/>
          <p:nvPr/>
        </p:nvSpPr>
        <p:spPr>
          <a:xfrm>
            <a:off x="3483940" y="5238350"/>
            <a:ext cx="2378149" cy="988786"/>
          </a:xfrm>
          <a:prstGeom prst="rect">
            <a:avLst/>
          </a:prstGeom>
          <a:noFill/>
          <a:ln w="19050" cap="rnd" cmpd="sng" algn="ctr">
            <a:solidFill>
              <a:srgbClr val="595959"/>
            </a:solidFill>
            <a:prstDash val="sysDot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pic>
        <p:nvPicPr>
          <p:cNvPr id="50" name="Рисунок 49" descr="icon-6.jp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4259990" y="5337535"/>
            <a:ext cx="838536" cy="504038"/>
          </a:xfrm>
          <a:prstGeom prst="rect">
            <a:avLst/>
          </a:prstGeom>
        </p:spPr>
      </p:pic>
      <p:sp>
        <p:nvSpPr>
          <p:cNvPr id="51" name="Rectangle 7"/>
          <p:cNvSpPr/>
          <p:nvPr/>
        </p:nvSpPr>
        <p:spPr>
          <a:xfrm>
            <a:off x="8520234" y="4001410"/>
            <a:ext cx="3001924" cy="988786"/>
          </a:xfrm>
          <a:prstGeom prst="rect">
            <a:avLst/>
          </a:prstGeom>
          <a:noFill/>
          <a:ln w="19050" cap="rnd" cmpd="sng" algn="ctr">
            <a:solidFill>
              <a:srgbClr val="595959"/>
            </a:solidFill>
            <a:prstDash val="sysDot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cxnSp>
        <p:nvCxnSpPr>
          <p:cNvPr id="53" name="Прямая соединительная линия 52"/>
          <p:cNvCxnSpPr/>
          <p:nvPr/>
        </p:nvCxnSpPr>
        <p:spPr>
          <a:xfrm>
            <a:off x="7644814" y="2147779"/>
            <a:ext cx="2484000" cy="0"/>
          </a:xfrm>
          <a:prstGeom prst="line">
            <a:avLst/>
          </a:prstGeom>
          <a:ln w="19050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/>
        </p:nvCxnSpPr>
        <p:spPr>
          <a:xfrm>
            <a:off x="10154106" y="2137147"/>
            <a:ext cx="0" cy="1836000"/>
          </a:xfrm>
          <a:prstGeom prst="line">
            <a:avLst/>
          </a:prstGeom>
          <a:ln w="19050">
            <a:solidFill>
              <a:srgbClr val="595959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6" name="Рисунок 55" descr="icon-20.pn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4705401" y="4036618"/>
            <a:ext cx="961752" cy="875625"/>
          </a:xfrm>
          <a:prstGeom prst="rect">
            <a:avLst/>
          </a:prstGeom>
        </p:spPr>
      </p:pic>
      <p:pic>
        <p:nvPicPr>
          <p:cNvPr id="57" name="Рисунок 56">
            <a:extLst>
              <a:ext uri="{FF2B5EF4-FFF2-40B4-BE49-F238E27FC236}">
                <a16:creationId xmlns:a16="http://schemas.microsoft.com/office/drawing/2014/main" id="{2ED1BD59-E68D-4E68-91BD-B6ABF7EA7D6E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/>
          <a:srcRect t="2938"/>
          <a:stretch/>
        </p:blipFill>
        <p:spPr>
          <a:xfrm>
            <a:off x="850610" y="1819151"/>
            <a:ext cx="754911" cy="694415"/>
          </a:xfrm>
          <a:prstGeom prst="rect">
            <a:avLst/>
          </a:prstGeom>
        </p:spPr>
      </p:pic>
      <p:cxnSp>
        <p:nvCxnSpPr>
          <p:cNvPr id="61" name="Straight Connector 26">
            <a:extLst>
              <a:ext uri="{FF2B5EF4-FFF2-40B4-BE49-F238E27FC236}">
                <a16:creationId xmlns:a16="http://schemas.microsoft.com/office/drawing/2014/main" id="{46A05292-30AA-944A-B13B-9158E7DF1A5E}"/>
              </a:ext>
            </a:extLst>
          </p:cNvPr>
          <p:cNvCxnSpPr/>
          <p:nvPr/>
        </p:nvCxnSpPr>
        <p:spPr>
          <a:xfrm rot="5400000" flipH="1">
            <a:off x="8040105" y="4036420"/>
            <a:ext cx="11030" cy="900000"/>
          </a:xfrm>
          <a:prstGeom prst="line">
            <a:avLst/>
          </a:prstGeom>
          <a:ln w="25400" cap="rnd">
            <a:solidFill>
              <a:srgbClr val="595959"/>
            </a:solidFill>
            <a:prstDash val="sysDot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Соединительная линия уступом 67"/>
          <p:cNvCxnSpPr/>
          <p:nvPr/>
        </p:nvCxnSpPr>
        <p:spPr>
          <a:xfrm rot="5400000">
            <a:off x="8054163" y="4779335"/>
            <a:ext cx="435935" cy="425302"/>
          </a:xfrm>
          <a:prstGeom prst="bentConnector3">
            <a:avLst>
              <a:gd name="adj1" fmla="val 1219"/>
            </a:avLst>
          </a:prstGeom>
          <a:ln w="19050">
            <a:solidFill>
              <a:srgbClr val="595959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Соединительная линия уступом 80"/>
          <p:cNvCxnSpPr/>
          <p:nvPr/>
        </p:nvCxnSpPr>
        <p:spPr>
          <a:xfrm rot="16200000" flipH="1">
            <a:off x="3698360" y="4782878"/>
            <a:ext cx="435935" cy="425302"/>
          </a:xfrm>
          <a:prstGeom prst="bentConnector3">
            <a:avLst>
              <a:gd name="adj1" fmla="val 1219"/>
            </a:avLst>
          </a:prstGeom>
          <a:ln w="19050">
            <a:solidFill>
              <a:srgbClr val="595959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Соединительная линия уступом 82"/>
          <p:cNvCxnSpPr>
            <a:stCxn id="43" idx="1"/>
          </p:cNvCxnSpPr>
          <p:nvPr/>
        </p:nvCxnSpPr>
        <p:spPr>
          <a:xfrm rot="10800000" flipV="1">
            <a:off x="4104168" y="2170815"/>
            <a:ext cx="485559" cy="2039678"/>
          </a:xfrm>
          <a:prstGeom prst="bentConnector2">
            <a:avLst/>
          </a:prstGeom>
          <a:ln w="19050">
            <a:solidFill>
              <a:srgbClr val="595959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26">
            <a:extLst>
              <a:ext uri="{FF2B5EF4-FFF2-40B4-BE49-F238E27FC236}">
                <a16:creationId xmlns:a16="http://schemas.microsoft.com/office/drawing/2014/main" id="{46A05292-30AA-944A-B13B-9158E7DF1A5E}"/>
              </a:ext>
            </a:extLst>
          </p:cNvPr>
          <p:cNvCxnSpPr/>
          <p:nvPr/>
        </p:nvCxnSpPr>
        <p:spPr>
          <a:xfrm rot="16200000">
            <a:off x="3872058" y="3993974"/>
            <a:ext cx="11030" cy="432000"/>
          </a:xfrm>
          <a:prstGeom prst="line">
            <a:avLst/>
          </a:prstGeom>
          <a:ln w="25400" cap="rnd">
            <a:solidFill>
              <a:srgbClr val="595959"/>
            </a:solidFill>
            <a:prstDash val="sysDot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4" name="Рисунок 93" descr="icon-21.png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803245" y="4198211"/>
            <a:ext cx="908597" cy="519844"/>
          </a:xfrm>
          <a:prstGeom prst="rect">
            <a:avLst/>
          </a:prstGeom>
        </p:spPr>
      </p:pic>
      <p:pic>
        <p:nvPicPr>
          <p:cNvPr id="95" name="Рисунок 94" descr="icon-22.pn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8671342" y="4098943"/>
            <a:ext cx="970730" cy="792038"/>
          </a:xfrm>
          <a:prstGeom prst="rect">
            <a:avLst/>
          </a:prstGeom>
        </p:spPr>
      </p:pic>
      <p:pic>
        <p:nvPicPr>
          <p:cNvPr id="97" name="Рисунок 96" descr="icon-23.png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832756" y="5427610"/>
            <a:ext cx="783393" cy="614815"/>
          </a:xfrm>
          <a:prstGeom prst="rect">
            <a:avLst/>
          </a:prstGeom>
        </p:spPr>
      </p:pic>
      <p:pic>
        <p:nvPicPr>
          <p:cNvPr id="98" name="Рисунок 97" descr="icon-24.png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9328169" y="5307105"/>
            <a:ext cx="794027" cy="839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902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3D7F2A8-98B9-9B47-8E0B-9FC19F12B9B1}"/>
              </a:ext>
            </a:extLst>
          </p:cNvPr>
          <p:cNvSpPr txBox="1">
            <a:spLocks/>
          </p:cNvSpPr>
          <p:nvPr/>
        </p:nvSpPr>
        <p:spPr>
          <a:xfrm>
            <a:off x="607104" y="430248"/>
            <a:ext cx="10879446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defTabSz="931016"/>
            <a:r>
              <a:rPr lang="ru-RU" dirty="0">
                <a:latin typeface="PT Sans Caption" pitchFamily="34" charset="-52"/>
                <a:ea typeface="Tahoma" panose="020B0604030504040204" pitchFamily="34" charset="0"/>
                <a:cs typeface="Tahoma" panose="020B0604030504040204" pitchFamily="34" charset="0"/>
              </a:rPr>
              <a:t>Ввод товара в оборот</a:t>
            </a:r>
            <a:endParaRPr lang="bg-BG" dirty="0">
              <a:latin typeface="PT Sans Caption" pitchFamily="34" charset="-52"/>
              <a:cs typeface="Helvetica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F61C7DE-3795-4CDE-9963-A89C21C504A2}"/>
              </a:ext>
            </a:extLst>
          </p:cNvPr>
          <p:cNvSpPr/>
          <p:nvPr/>
        </p:nvSpPr>
        <p:spPr>
          <a:xfrm>
            <a:off x="1254635" y="2989121"/>
            <a:ext cx="2608522" cy="7003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b="1" dirty="0">
                <a:solidFill>
                  <a:srgbClr val="595959"/>
                </a:solidFill>
                <a:latin typeface="PT Sans Caption" pitchFamily="34" charset="-52"/>
              </a:rPr>
              <a:t>Производства новых товаров</a:t>
            </a:r>
            <a: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  <a:t>, код наносится до отгрузки </a:t>
            </a:r>
          </a:p>
          <a:p>
            <a:pPr algn="ctr"/>
            <a: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  <a:t>с территории производства</a:t>
            </a:r>
            <a:endParaRPr lang="en-US" sz="1200" dirty="0">
              <a:solidFill>
                <a:srgbClr val="595959"/>
              </a:solidFill>
              <a:latin typeface="PT Sans Caption" pitchFamily="34" charset="-52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F61C7DE-3795-4CDE-9963-A89C21C504A2}"/>
              </a:ext>
            </a:extLst>
          </p:cNvPr>
          <p:cNvSpPr/>
          <p:nvPr/>
        </p:nvSpPr>
        <p:spPr>
          <a:xfrm>
            <a:off x="4786429" y="2989121"/>
            <a:ext cx="2434856" cy="7003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b="1" dirty="0">
                <a:solidFill>
                  <a:srgbClr val="595959"/>
                </a:solidFill>
                <a:latin typeface="PT Sans Caption" pitchFamily="34" charset="-52"/>
              </a:rPr>
              <a:t>При ввозе с территории </a:t>
            </a:r>
          </a:p>
          <a:p>
            <a:pPr algn="ctr"/>
            <a:r>
              <a:rPr lang="ru-RU" sz="1200" b="1" dirty="0">
                <a:solidFill>
                  <a:srgbClr val="595959"/>
                </a:solidFill>
                <a:latin typeface="PT Sans Caption" pitchFamily="34" charset="-52"/>
              </a:rPr>
              <a:t>ЕАЭС </a:t>
            </a:r>
            <a:r>
              <a:rPr lang="ru-RU" sz="1200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  <a:t>—</a:t>
            </a:r>
            <a: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  <a:t> до ввоза </a:t>
            </a:r>
          </a:p>
          <a:p>
            <a:pPr algn="ctr"/>
            <a: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  <a:t>на территорию РФ</a:t>
            </a:r>
            <a:endParaRPr lang="en-US" sz="1200" dirty="0">
              <a:solidFill>
                <a:srgbClr val="595959"/>
              </a:solidFill>
              <a:latin typeface="PT Sans Caption" pitchFamily="34" charset="-52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F61C7DE-3795-4CDE-9963-A89C21C504A2}"/>
              </a:ext>
            </a:extLst>
          </p:cNvPr>
          <p:cNvSpPr/>
          <p:nvPr/>
        </p:nvSpPr>
        <p:spPr>
          <a:xfrm>
            <a:off x="8263298" y="2989121"/>
            <a:ext cx="2434856" cy="7003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b="1" dirty="0">
                <a:solidFill>
                  <a:srgbClr val="595959"/>
                </a:solidFill>
                <a:latin typeface="PT Sans Caption" pitchFamily="34" charset="-52"/>
              </a:rPr>
              <a:t>При ввозе из других стран </a:t>
            </a:r>
            <a:r>
              <a:rPr lang="ru-RU" sz="1200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  <a:t>—</a:t>
            </a:r>
            <a: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  <a:t> до помещения под таможенные процедуры</a:t>
            </a:r>
            <a:endParaRPr lang="en-US" sz="1200" dirty="0">
              <a:solidFill>
                <a:srgbClr val="595959"/>
              </a:solidFill>
              <a:latin typeface="PT Sans Caption" pitchFamily="34" charset="-52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4F61C7DE-3795-4CDE-9963-A89C21C504A2}"/>
              </a:ext>
            </a:extLst>
          </p:cNvPr>
          <p:cNvSpPr/>
          <p:nvPr/>
        </p:nvSpPr>
        <p:spPr>
          <a:xfrm>
            <a:off x="8263298" y="5406246"/>
            <a:ext cx="2434856" cy="7003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b="1" dirty="0">
                <a:solidFill>
                  <a:srgbClr val="595959"/>
                </a:solidFill>
                <a:latin typeface="PT Sans Caption" pitchFamily="34" charset="-52"/>
              </a:rPr>
              <a:t>Маркировки остатков, перемаркировки</a:t>
            </a:r>
            <a: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  <a:t>, например, в случае утраты</a:t>
            </a:r>
            <a:endParaRPr lang="en-US" sz="1200" dirty="0">
              <a:solidFill>
                <a:srgbClr val="595959"/>
              </a:solidFill>
              <a:latin typeface="PT Sans Caption" pitchFamily="34" charset="-52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4F61C7DE-3795-4CDE-9963-A89C21C504A2}"/>
              </a:ext>
            </a:extLst>
          </p:cNvPr>
          <p:cNvSpPr/>
          <p:nvPr/>
        </p:nvSpPr>
        <p:spPr>
          <a:xfrm>
            <a:off x="4786429" y="5406246"/>
            <a:ext cx="2434856" cy="7003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b="1" dirty="0">
                <a:solidFill>
                  <a:srgbClr val="595959"/>
                </a:solidFill>
                <a:latin typeface="PT Sans Caption" pitchFamily="34" charset="-52"/>
              </a:rPr>
              <a:t>Возврат товара от покупателя </a:t>
            </a:r>
            <a: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  <a:t>с утраченным кодом маркировки</a:t>
            </a:r>
            <a:endParaRPr lang="en-US" sz="1200" dirty="0">
              <a:solidFill>
                <a:srgbClr val="595959"/>
              </a:solidFill>
              <a:latin typeface="PT Sans Caption" pitchFamily="34" charset="-52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4F61C7DE-3795-4CDE-9963-A89C21C504A2}"/>
              </a:ext>
            </a:extLst>
          </p:cNvPr>
          <p:cNvSpPr/>
          <p:nvPr/>
        </p:nvSpPr>
        <p:spPr>
          <a:xfrm>
            <a:off x="1341468" y="5406246"/>
            <a:ext cx="2434856" cy="7003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b="1" dirty="0">
                <a:solidFill>
                  <a:srgbClr val="595959"/>
                </a:solidFill>
                <a:latin typeface="PT Sans Caption" pitchFamily="34" charset="-52"/>
              </a:rPr>
              <a:t>Приема товаров </a:t>
            </a:r>
          </a:p>
          <a:p>
            <a:pPr algn="ctr"/>
            <a: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  <a:t>на комиссию </a:t>
            </a:r>
          </a:p>
          <a:p>
            <a:pPr algn="ctr"/>
            <a:r>
              <a:rPr lang="ru-RU" sz="1200" b="1" dirty="0">
                <a:solidFill>
                  <a:srgbClr val="595959"/>
                </a:solidFill>
                <a:latin typeface="PT Sans Caption" pitchFamily="34" charset="-52"/>
              </a:rPr>
              <a:t>от физических лиц</a:t>
            </a:r>
            <a:endParaRPr lang="en-US" sz="1200" b="1" dirty="0">
              <a:solidFill>
                <a:srgbClr val="595959"/>
              </a:solidFill>
              <a:latin typeface="PT Sans Caption" pitchFamily="34" charset="-52"/>
            </a:endParaRPr>
          </a:p>
        </p:txBody>
      </p:sp>
      <p:pic>
        <p:nvPicPr>
          <p:cNvPr id="12" name="Рисунок 11" descr="icon-1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952593" y="1769435"/>
            <a:ext cx="1187235" cy="1111988"/>
          </a:xfrm>
          <a:prstGeom prst="rect">
            <a:avLst/>
          </a:prstGeom>
        </p:spPr>
      </p:pic>
      <p:pic>
        <p:nvPicPr>
          <p:cNvPr id="13" name="Рисунок 12" descr="icon-2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176664" y="1728999"/>
            <a:ext cx="1745132" cy="1184447"/>
          </a:xfrm>
          <a:prstGeom prst="rect">
            <a:avLst/>
          </a:prstGeom>
        </p:spPr>
      </p:pic>
      <p:pic>
        <p:nvPicPr>
          <p:cNvPr id="14" name="Рисунок 13" descr="icon-3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035649" y="1605515"/>
            <a:ext cx="840975" cy="1392866"/>
          </a:xfrm>
          <a:prstGeom prst="rect">
            <a:avLst/>
          </a:prstGeom>
        </p:spPr>
      </p:pic>
      <p:pic>
        <p:nvPicPr>
          <p:cNvPr id="15" name="Рисунок 14" descr="icon-4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873609" y="4101636"/>
            <a:ext cx="1454382" cy="1192920"/>
          </a:xfrm>
          <a:prstGeom prst="rect">
            <a:avLst/>
          </a:prstGeom>
        </p:spPr>
      </p:pic>
      <p:pic>
        <p:nvPicPr>
          <p:cNvPr id="16" name="Рисунок 15" descr="icon-5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114261" y="4136065"/>
            <a:ext cx="1714932" cy="1023710"/>
          </a:xfrm>
          <a:prstGeom prst="rect">
            <a:avLst/>
          </a:prstGeom>
        </p:spPr>
      </p:pic>
      <p:pic>
        <p:nvPicPr>
          <p:cNvPr id="17" name="Рисунок 16" descr="icon-6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8576804" y="4185286"/>
            <a:ext cx="1641085" cy="98644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3D7F2A8-98B9-9B47-8E0B-9FC19F12B9B1}"/>
              </a:ext>
            </a:extLst>
          </p:cNvPr>
          <p:cNvSpPr txBox="1">
            <a:spLocks/>
          </p:cNvSpPr>
          <p:nvPr/>
        </p:nvSpPr>
        <p:spPr>
          <a:xfrm>
            <a:off x="607104" y="430248"/>
            <a:ext cx="10879446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defTabSz="931016"/>
            <a:r>
              <a:rPr lang="ru-RU" dirty="0"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Агрегирование</a:t>
            </a:r>
            <a:endParaRPr lang="bg-BG" dirty="0">
              <a:latin typeface="PT Sans Caption" pitchFamily="34" charset="-52"/>
              <a:cs typeface="Helvetica"/>
            </a:endParaRPr>
          </a:p>
        </p:txBody>
      </p:sp>
      <p:pic>
        <p:nvPicPr>
          <p:cNvPr id="4" name="Рисунок 3" descr="Маркировка обуви новая правки -15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07578" y="2360439"/>
            <a:ext cx="3773205" cy="1424762"/>
          </a:xfrm>
          <a:prstGeom prst="rect">
            <a:avLst/>
          </a:prstGeom>
        </p:spPr>
      </p:pic>
      <p:cxnSp>
        <p:nvCxnSpPr>
          <p:cNvPr id="10" name="Straight Connector 26">
            <a:extLst>
              <a:ext uri="{FF2B5EF4-FFF2-40B4-BE49-F238E27FC236}">
                <a16:creationId xmlns:a16="http://schemas.microsoft.com/office/drawing/2014/main" id="{46A05292-30AA-944A-B13B-9158E7DF1A5E}"/>
              </a:ext>
            </a:extLst>
          </p:cNvPr>
          <p:cNvCxnSpPr/>
          <p:nvPr/>
        </p:nvCxnSpPr>
        <p:spPr>
          <a:xfrm rot="5400000" flipH="1">
            <a:off x="6081421" y="-1367159"/>
            <a:ext cx="11030" cy="12168000"/>
          </a:xfrm>
          <a:prstGeom prst="line">
            <a:avLst/>
          </a:prstGeom>
          <a:ln w="25400" cap="rnd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1117478" y="5104995"/>
            <a:ext cx="1071767" cy="24622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>
              <a:lnSpc>
                <a:spcPct val="100000"/>
              </a:lnSpc>
              <a:spcBef>
                <a:spcPts val="114"/>
              </a:spcBef>
            </a:pPr>
            <a:r>
              <a:rPr lang="ru-RU" sz="1600" spc="5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Агрегация</a:t>
            </a:r>
            <a:endParaRPr lang="ru-RU" sz="1600" dirty="0">
              <a:solidFill>
                <a:srgbClr val="595959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1520069" y="4572645"/>
            <a:ext cx="252248" cy="252248"/>
          </a:xfrm>
          <a:prstGeom prst="ellipse">
            <a:avLst/>
          </a:prstGeom>
          <a:solidFill>
            <a:srgbClr val="F8F200"/>
          </a:solidFill>
          <a:ln w="19050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13" name="Овал 12"/>
          <p:cNvSpPr/>
          <p:nvPr/>
        </p:nvSpPr>
        <p:spPr>
          <a:xfrm>
            <a:off x="3630213" y="4577905"/>
            <a:ext cx="252248" cy="252248"/>
          </a:xfrm>
          <a:prstGeom prst="ellipse">
            <a:avLst/>
          </a:prstGeom>
          <a:solidFill>
            <a:srgbClr val="F8F200"/>
          </a:solidFill>
          <a:ln w="19050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5873326" y="4577905"/>
            <a:ext cx="252248" cy="252248"/>
          </a:xfrm>
          <a:prstGeom prst="ellipse">
            <a:avLst/>
          </a:prstGeom>
          <a:solidFill>
            <a:srgbClr val="F8F200"/>
          </a:solidFill>
          <a:ln w="19050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8088816" y="4583165"/>
            <a:ext cx="252248" cy="252248"/>
          </a:xfrm>
          <a:prstGeom prst="ellipse">
            <a:avLst/>
          </a:prstGeom>
          <a:solidFill>
            <a:srgbClr val="F8F200"/>
          </a:solidFill>
          <a:ln w="19050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16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3065864" y="5104995"/>
            <a:ext cx="1397177" cy="24622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>
              <a:lnSpc>
                <a:spcPct val="100000"/>
              </a:lnSpc>
              <a:spcBef>
                <a:spcPts val="114"/>
              </a:spcBef>
            </a:pPr>
            <a:r>
              <a:rPr lang="ru-RU" sz="1600" spc="5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Разагрегация</a:t>
            </a:r>
            <a:endParaRPr lang="ru-RU" sz="1600" dirty="0">
              <a:solidFill>
                <a:srgbClr val="595959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sp>
        <p:nvSpPr>
          <p:cNvPr id="17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5578123" y="5104995"/>
            <a:ext cx="846770" cy="24622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600" spc="5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Изъятие</a:t>
            </a:r>
            <a:endParaRPr lang="ru-RU" sz="1600" dirty="0">
              <a:solidFill>
                <a:srgbClr val="595959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sp>
        <p:nvSpPr>
          <p:cNvPr id="18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7581012" y="5104995"/>
            <a:ext cx="1249253" cy="24622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600" spc="5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ерекладка</a:t>
            </a:r>
            <a:endParaRPr lang="ru-RU" sz="1600" dirty="0">
              <a:solidFill>
                <a:srgbClr val="595959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sp>
        <p:nvSpPr>
          <p:cNvPr id="19" name="Овал 18"/>
          <p:cNvSpPr/>
          <p:nvPr/>
        </p:nvSpPr>
        <p:spPr>
          <a:xfrm>
            <a:off x="10399632" y="4583165"/>
            <a:ext cx="252248" cy="252248"/>
          </a:xfrm>
          <a:prstGeom prst="ellipse">
            <a:avLst/>
          </a:prstGeom>
          <a:solidFill>
            <a:srgbClr val="F8F200"/>
          </a:solidFill>
          <a:ln w="19050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20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9469977" y="5104995"/>
            <a:ext cx="2104166" cy="24622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600" spc="5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ереформирование</a:t>
            </a:r>
            <a:endParaRPr lang="ru-RU" sz="1600" dirty="0">
              <a:solidFill>
                <a:srgbClr val="595959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pic>
        <p:nvPicPr>
          <p:cNvPr id="21" name="Рисунок 20" descr="Маркировка обуви новая правки -16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051909" y="2172070"/>
            <a:ext cx="3892910" cy="1634394"/>
          </a:xfrm>
          <a:prstGeom prst="rect">
            <a:avLst/>
          </a:prstGeom>
        </p:spPr>
      </p:pic>
      <p:pic>
        <p:nvPicPr>
          <p:cNvPr id="22" name="Рисунок 21" descr="Маркировка обуви новая правки -17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982566" y="2194579"/>
            <a:ext cx="3851471" cy="186707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61E16CE-EFFD-417D-9627-92570F75B578}"/>
              </a:ext>
            </a:extLst>
          </p:cNvPr>
          <p:cNvSpPr txBox="1"/>
          <p:nvPr/>
        </p:nvSpPr>
        <p:spPr>
          <a:xfrm>
            <a:off x="715609" y="4938881"/>
            <a:ext cx="45262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Маркировка необходима </a:t>
            </a:r>
          </a:p>
          <a:p>
            <a:pPr algn="ctr"/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если продается конечное изделие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710E6C3-CEFD-4830-B503-6F7D0053B200}"/>
              </a:ext>
            </a:extLst>
          </p:cNvPr>
          <p:cNvSpPr txBox="1">
            <a:spLocks/>
          </p:cNvSpPr>
          <p:nvPr/>
        </p:nvSpPr>
        <p:spPr>
          <a:xfrm>
            <a:off x="607104" y="430248"/>
            <a:ext cx="10879446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defTabSz="931016"/>
            <a:r>
              <a:rPr lang="ru-RU" dirty="0"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Пошив на заказ</a:t>
            </a:r>
            <a:endParaRPr lang="bg-BG" dirty="0">
              <a:latin typeface="PT Sans Caption" pitchFamily="34" charset="-52"/>
              <a:cs typeface="Helvetica"/>
            </a:endParaRPr>
          </a:p>
        </p:txBody>
      </p:sp>
      <p:pic>
        <p:nvPicPr>
          <p:cNvPr id="64513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89370" y="2387010"/>
            <a:ext cx="2115879" cy="21158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61E16CE-EFFD-417D-9627-92570F75B578}"/>
              </a:ext>
            </a:extLst>
          </p:cNvPr>
          <p:cNvSpPr txBox="1"/>
          <p:nvPr/>
        </p:nvSpPr>
        <p:spPr>
          <a:xfrm>
            <a:off x="6707919" y="4938881"/>
            <a:ext cx="44801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Маркировка не требуется </a:t>
            </a:r>
          </a:p>
          <a:p>
            <a:pPr algn="ctr"/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если оказывается услуга по пошиву</a:t>
            </a:r>
          </a:p>
        </p:txBody>
      </p:sp>
      <p:cxnSp>
        <p:nvCxnSpPr>
          <p:cNvPr id="8" name="Straight Connector 26">
            <a:extLst>
              <a:ext uri="{FF2B5EF4-FFF2-40B4-BE49-F238E27FC236}">
                <a16:creationId xmlns:a16="http://schemas.microsoft.com/office/drawing/2014/main" id="{46A05292-30AA-944A-B13B-9158E7DF1A5E}"/>
              </a:ext>
            </a:extLst>
          </p:cNvPr>
          <p:cNvCxnSpPr/>
          <p:nvPr/>
        </p:nvCxnSpPr>
        <p:spPr>
          <a:xfrm rot="10800000" flipH="1">
            <a:off x="5991694" y="1134000"/>
            <a:ext cx="11030" cy="5724000"/>
          </a:xfrm>
          <a:prstGeom prst="line">
            <a:avLst/>
          </a:prstGeom>
          <a:ln w="25400" cap="rnd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451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20330" y="2387010"/>
            <a:ext cx="2116800" cy="211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81899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3D7F2A8-98B9-9B47-8E0B-9FC19F12B9B1}"/>
              </a:ext>
            </a:extLst>
          </p:cNvPr>
          <p:cNvSpPr txBox="1">
            <a:spLocks/>
          </p:cNvSpPr>
          <p:nvPr/>
        </p:nvSpPr>
        <p:spPr>
          <a:xfrm>
            <a:off x="607104" y="430248"/>
            <a:ext cx="10879446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defTabSz="931016"/>
            <a:r>
              <a:rPr lang="ru-RU" dirty="0"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Передача прав собственности</a:t>
            </a:r>
            <a:endParaRPr lang="bg-BG" dirty="0">
              <a:latin typeface="PT Sans Caption" pitchFamily="34" charset="-52"/>
              <a:cs typeface="Helvetica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8E0AD9A-EFE2-458E-A9AA-EA40078107A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t="739"/>
          <a:stretch/>
        </p:blipFill>
        <p:spPr>
          <a:xfrm>
            <a:off x="8748465" y="2405887"/>
            <a:ext cx="3230883" cy="3649521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8BC568B-D268-4968-9900-21FAD5CB52DE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932967" y="1948894"/>
            <a:ext cx="3732029" cy="291225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EF6A83E-0384-4739-A6F8-F46D9356DC44}"/>
              </a:ext>
            </a:extLst>
          </p:cNvPr>
          <p:cNvSpPr txBox="1"/>
          <p:nvPr/>
        </p:nvSpPr>
        <p:spPr>
          <a:xfrm>
            <a:off x="287072" y="3910403"/>
            <a:ext cx="556082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8000" indent="-288000">
              <a:spcAft>
                <a:spcPts val="0"/>
              </a:spcAft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400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imes New Roman" panose="02020603050405020304" pitchFamily="18" charset="0"/>
              </a:rPr>
              <a:t>формируется </a:t>
            </a:r>
            <a:r>
              <a:rPr lang="ru-RU" sz="1400" b="1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imes New Roman" panose="02020603050405020304" pitchFamily="18" charset="0"/>
              </a:rPr>
              <a:t>УПД (универсальный передаточный документ с указанием вида сделки), УКД, УПДи</a:t>
            </a:r>
            <a:r>
              <a:rPr lang="en-US" sz="1400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imes New Roman" panose="02020603050405020304" pitchFamily="18" charset="0"/>
              </a:rPr>
              <a:t>;</a:t>
            </a:r>
            <a:endParaRPr lang="ru-RU" sz="1400" dirty="0">
              <a:solidFill>
                <a:srgbClr val="595959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imes New Roman" panose="02020603050405020304" pitchFamily="18" charset="0"/>
            </a:endParaRPr>
          </a:p>
          <a:p>
            <a:pPr marL="288000" indent="-288000">
              <a:spcAft>
                <a:spcPts val="0"/>
              </a:spcAft>
              <a:buClr>
                <a:srgbClr val="F8F200"/>
              </a:buClr>
              <a:buFont typeface="Arial" pitchFamily="34" charset="0"/>
              <a:buChar char="•"/>
            </a:pPr>
            <a:endParaRPr lang="ru-RU" sz="1400" b="1" dirty="0">
              <a:solidFill>
                <a:srgbClr val="595959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imes New Roman" panose="02020603050405020304" pitchFamily="18" charset="0"/>
            </a:endParaRPr>
          </a:p>
          <a:p>
            <a:pPr marL="288000" indent="-288000">
              <a:spcAft>
                <a:spcPts val="0"/>
              </a:spcAft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400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imes New Roman" panose="02020603050405020304" pitchFamily="18" charset="0"/>
              </a:rPr>
              <a:t>подписывается УКЭП</a:t>
            </a:r>
            <a:r>
              <a:rPr lang="en-US" sz="1400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imes New Roman" panose="02020603050405020304" pitchFamily="18" charset="0"/>
              </a:rPr>
              <a:t>;</a:t>
            </a:r>
            <a:endParaRPr lang="ru-RU" sz="1400" dirty="0">
              <a:solidFill>
                <a:srgbClr val="595959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imes New Roman" panose="02020603050405020304" pitchFamily="18" charset="0"/>
            </a:endParaRPr>
          </a:p>
          <a:p>
            <a:pPr marL="288000" indent="-288000">
              <a:spcAft>
                <a:spcPts val="0"/>
              </a:spcAft>
              <a:buClr>
                <a:srgbClr val="F8F200"/>
              </a:buClr>
              <a:buFont typeface="Arial" pitchFamily="34" charset="0"/>
              <a:buChar char="•"/>
            </a:pPr>
            <a:endParaRPr lang="ru-RU" sz="1400" dirty="0">
              <a:solidFill>
                <a:srgbClr val="595959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imes New Roman" panose="02020603050405020304" pitchFamily="18" charset="0"/>
            </a:endParaRPr>
          </a:p>
          <a:p>
            <a:pPr marL="288000" indent="-288000">
              <a:spcAft>
                <a:spcPts val="0"/>
              </a:spcAft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400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imes New Roman" panose="02020603050405020304" pitchFamily="18" charset="0"/>
              </a:rPr>
              <a:t>направляется в информационную систему мониторинга в срок </a:t>
            </a:r>
            <a:r>
              <a:rPr lang="ru-RU" sz="1400" b="1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imes New Roman" panose="02020603050405020304" pitchFamily="18" charset="0"/>
              </a:rPr>
              <a:t>не более 3 рабочих дней </a:t>
            </a:r>
            <a:r>
              <a:rPr lang="ru-RU" sz="1400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imes New Roman" panose="02020603050405020304" pitchFamily="18" charset="0"/>
              </a:rPr>
              <a:t>со дня отгрузки, но не позднее дня передачи этих обувных товаров третьим лицам.</a:t>
            </a:r>
          </a:p>
        </p:txBody>
      </p:sp>
      <p:sp>
        <p:nvSpPr>
          <p:cNvPr id="7" name="Rectangle 179"/>
          <p:cNvSpPr/>
          <p:nvPr/>
        </p:nvSpPr>
        <p:spPr>
          <a:xfrm>
            <a:off x="567052" y="2010065"/>
            <a:ext cx="5652993" cy="16581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ru-RU" sz="2000" b="1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imes New Roman" panose="02020603050405020304" pitchFamily="18" charset="0"/>
              </a:rPr>
              <a:t>При передаче права собственности </a:t>
            </a:r>
          </a:p>
          <a:p>
            <a:pPr>
              <a:spcAft>
                <a:spcPts val="0"/>
              </a:spcAft>
            </a:pPr>
            <a:r>
              <a:rPr lang="ru-RU" sz="2000" b="1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imes New Roman" panose="02020603050405020304" pitchFamily="18" charset="0"/>
              </a:rPr>
              <a:t>на обувные товары, а также в рамках договоров комиссии, агентских договоров: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3D7F2A8-98B9-9B47-8E0B-9FC19F12B9B1}"/>
              </a:ext>
            </a:extLst>
          </p:cNvPr>
          <p:cNvSpPr txBox="1">
            <a:spLocks/>
          </p:cNvSpPr>
          <p:nvPr/>
        </p:nvSpPr>
        <p:spPr>
          <a:xfrm>
            <a:off x="607104" y="430248"/>
            <a:ext cx="10879446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defTabSz="931016"/>
            <a:r>
              <a:rPr lang="ru-RU" dirty="0"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Вывод из оборота</a:t>
            </a:r>
            <a:endParaRPr lang="bg-BG" dirty="0">
              <a:latin typeface="PT Sans Caption" pitchFamily="34" charset="-52"/>
              <a:cs typeface="Helvetica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79982EB-EBED-4C78-812E-293AC5AF6BF0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378455" y="2165760"/>
            <a:ext cx="2912287" cy="3482735"/>
          </a:xfrm>
          <a:prstGeom prst="rect">
            <a:avLst/>
          </a:prstGeom>
        </p:spPr>
      </p:pic>
      <p:sp>
        <p:nvSpPr>
          <p:cNvPr id="6" name="Rectangle 7"/>
          <p:cNvSpPr/>
          <p:nvPr/>
        </p:nvSpPr>
        <p:spPr>
          <a:xfrm>
            <a:off x="2065796" y="1838243"/>
            <a:ext cx="3771477" cy="511544"/>
          </a:xfrm>
          <a:prstGeom prst="rect">
            <a:avLst/>
          </a:prstGeom>
          <a:solidFill>
            <a:srgbClr val="F6F42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sp>
        <p:nvSpPr>
          <p:cNvPr id="7" name="Rectangle 179"/>
          <p:cNvSpPr/>
          <p:nvPr/>
        </p:nvSpPr>
        <p:spPr>
          <a:xfrm>
            <a:off x="2264750" y="1868293"/>
            <a:ext cx="3646951" cy="43897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Bef>
                <a:spcPts val="1205"/>
              </a:spcBef>
            </a:pP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При розничной продаже</a:t>
            </a:r>
          </a:p>
        </p:txBody>
      </p:sp>
      <p:pic>
        <p:nvPicPr>
          <p:cNvPr id="8" name="Рисунок 7" descr="icon-5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67833" y="1669312"/>
            <a:ext cx="1335885" cy="797442"/>
          </a:xfrm>
          <a:prstGeom prst="rect">
            <a:avLst/>
          </a:prstGeom>
        </p:spPr>
      </p:pic>
      <p:grpSp>
        <p:nvGrpSpPr>
          <p:cNvPr id="12" name="Группа 11"/>
          <p:cNvGrpSpPr/>
          <p:nvPr/>
        </p:nvGrpSpPr>
        <p:grpSpPr>
          <a:xfrm>
            <a:off x="910829" y="2934060"/>
            <a:ext cx="427104" cy="415196"/>
            <a:chOff x="838170" y="2934060"/>
            <a:chExt cx="427104" cy="415196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777084F6-118A-4641-9396-5349659D2876}"/>
                </a:ext>
              </a:extLst>
            </p:cNvPr>
            <p:cNvSpPr/>
            <p:nvPr/>
          </p:nvSpPr>
          <p:spPr>
            <a:xfrm>
              <a:off x="838170" y="2934060"/>
              <a:ext cx="418461" cy="415196"/>
            </a:xfrm>
            <a:prstGeom prst="ellipse">
              <a:avLst/>
            </a:prstGeom>
            <a:solidFill>
              <a:srgbClr val="F6F42E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lnSpc>
                  <a:spcPct val="95000"/>
                </a:lnSpc>
              </a:pPr>
              <a:endParaRPr lang="bg-BG" kern="0" dirty="0">
                <a:solidFill>
                  <a:schemeClr val="bg1">
                    <a:lumMod val="50000"/>
                  </a:schemeClr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6136A998-5EA4-4862-97E4-04B30B4768EA}"/>
                </a:ext>
              </a:extLst>
            </p:cNvPr>
            <p:cNvSpPr/>
            <p:nvPr/>
          </p:nvSpPr>
          <p:spPr>
            <a:xfrm>
              <a:off x="882502" y="2968740"/>
              <a:ext cx="382772" cy="3273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PT Sans Caption" pitchFamily="34" charset="-52"/>
                </a:rPr>
                <a:t>1.</a:t>
              </a:r>
              <a:endParaRPr lang="ru-RU" sz="1600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EEF6A83E-0384-4739-A6F8-F46D9356DC44}"/>
              </a:ext>
            </a:extLst>
          </p:cNvPr>
          <p:cNvSpPr txBox="1"/>
          <p:nvPr/>
        </p:nvSpPr>
        <p:spPr>
          <a:xfrm>
            <a:off x="1531081" y="2995989"/>
            <a:ext cx="6368909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Просканировать код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каждой единицы товара</a:t>
            </a:r>
          </a:p>
          <a:p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Open Sans" panose="020B0606030504020204" pitchFamily="34" charset="0"/>
            </a:endParaRPr>
          </a:p>
          <a:p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Open Sans" panose="020B0606030504020204" pitchFamily="34" charset="0"/>
            </a:endParaRPr>
          </a:p>
          <a:p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Проверить печать в чеке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кода маркированной продукции</a:t>
            </a:r>
          </a:p>
          <a:p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Open Sans" panose="020B0606030504020204" pitchFamily="34" charset="0"/>
            </a:endParaRPr>
          </a:p>
          <a:p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Open Sans" panose="020B0606030504020204" pitchFamily="34" charset="0"/>
            </a:endParaRPr>
          </a:p>
          <a:p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Проверить отправку в ОФД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кода маркированной продукции</a:t>
            </a:r>
          </a:p>
          <a:p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Open Sans" panose="020B0606030504020204" pitchFamily="34" charset="0"/>
            </a:endParaRPr>
          </a:p>
          <a:p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Open Sans" panose="020B0606030504020204" pitchFamily="34" charset="0"/>
            </a:endParaRPr>
          </a:p>
          <a:p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Проверить в ЛК ГИС МТ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отображение чека 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910829" y="3681883"/>
            <a:ext cx="427104" cy="415196"/>
            <a:chOff x="838170" y="2934060"/>
            <a:chExt cx="427104" cy="415196"/>
          </a:xfrm>
        </p:grpSpPr>
        <p:sp>
          <p:nvSpPr>
            <p:cNvPr id="14" name="Oval 8">
              <a:extLst>
                <a:ext uri="{FF2B5EF4-FFF2-40B4-BE49-F238E27FC236}">
                  <a16:creationId xmlns:a16="http://schemas.microsoft.com/office/drawing/2014/main" id="{777084F6-118A-4641-9396-5349659D2876}"/>
                </a:ext>
              </a:extLst>
            </p:cNvPr>
            <p:cNvSpPr/>
            <p:nvPr/>
          </p:nvSpPr>
          <p:spPr>
            <a:xfrm>
              <a:off x="838170" y="2934060"/>
              <a:ext cx="418461" cy="415196"/>
            </a:xfrm>
            <a:prstGeom prst="ellipse">
              <a:avLst/>
            </a:prstGeom>
            <a:solidFill>
              <a:srgbClr val="F6F42E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lnSpc>
                  <a:spcPct val="95000"/>
                </a:lnSpc>
              </a:pPr>
              <a:endParaRPr lang="bg-BG" kern="0" dirty="0">
                <a:solidFill>
                  <a:schemeClr val="bg1">
                    <a:lumMod val="50000"/>
                  </a:schemeClr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6136A998-5EA4-4862-97E4-04B30B4768EA}"/>
                </a:ext>
              </a:extLst>
            </p:cNvPr>
            <p:cNvSpPr/>
            <p:nvPr/>
          </p:nvSpPr>
          <p:spPr>
            <a:xfrm>
              <a:off x="882502" y="2968740"/>
              <a:ext cx="382772" cy="3273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PT Sans Caption" pitchFamily="34" charset="-52"/>
                </a:rPr>
                <a:t>2.</a:t>
              </a:r>
              <a:endParaRPr lang="ru-RU" sz="1600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</p:grpSp>
      <p:grpSp>
        <p:nvGrpSpPr>
          <p:cNvPr id="16" name="Группа 15"/>
          <p:cNvGrpSpPr/>
          <p:nvPr/>
        </p:nvGrpSpPr>
        <p:grpSpPr>
          <a:xfrm>
            <a:off x="910829" y="4415532"/>
            <a:ext cx="427104" cy="415196"/>
            <a:chOff x="838170" y="2934060"/>
            <a:chExt cx="427104" cy="415196"/>
          </a:xfrm>
        </p:grpSpPr>
        <p:sp>
          <p:nvSpPr>
            <p:cNvPr id="17" name="Oval 8">
              <a:extLst>
                <a:ext uri="{FF2B5EF4-FFF2-40B4-BE49-F238E27FC236}">
                  <a16:creationId xmlns:a16="http://schemas.microsoft.com/office/drawing/2014/main" id="{777084F6-118A-4641-9396-5349659D2876}"/>
                </a:ext>
              </a:extLst>
            </p:cNvPr>
            <p:cNvSpPr/>
            <p:nvPr/>
          </p:nvSpPr>
          <p:spPr>
            <a:xfrm>
              <a:off x="838170" y="2934060"/>
              <a:ext cx="418461" cy="415196"/>
            </a:xfrm>
            <a:prstGeom prst="ellipse">
              <a:avLst/>
            </a:prstGeom>
            <a:solidFill>
              <a:srgbClr val="F6F42E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lnSpc>
                  <a:spcPct val="95000"/>
                </a:lnSpc>
              </a:pPr>
              <a:endParaRPr lang="bg-BG" kern="0" dirty="0">
                <a:solidFill>
                  <a:schemeClr val="bg1">
                    <a:lumMod val="50000"/>
                  </a:schemeClr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6136A998-5EA4-4862-97E4-04B30B4768EA}"/>
                </a:ext>
              </a:extLst>
            </p:cNvPr>
            <p:cNvSpPr/>
            <p:nvPr/>
          </p:nvSpPr>
          <p:spPr>
            <a:xfrm>
              <a:off x="882502" y="2968740"/>
              <a:ext cx="382772" cy="3273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PT Sans Caption" pitchFamily="34" charset="-52"/>
                </a:rPr>
                <a:t>3.</a:t>
              </a:r>
              <a:endParaRPr lang="ru-RU" sz="1600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</p:grpSp>
      <p:grpSp>
        <p:nvGrpSpPr>
          <p:cNvPr id="19" name="Группа 18"/>
          <p:cNvGrpSpPr/>
          <p:nvPr/>
        </p:nvGrpSpPr>
        <p:grpSpPr>
          <a:xfrm>
            <a:off x="910829" y="5142089"/>
            <a:ext cx="427104" cy="415196"/>
            <a:chOff x="838170" y="2934060"/>
            <a:chExt cx="427104" cy="415196"/>
          </a:xfrm>
        </p:grpSpPr>
        <p:sp>
          <p:nvSpPr>
            <p:cNvPr id="20" name="Oval 8">
              <a:extLst>
                <a:ext uri="{FF2B5EF4-FFF2-40B4-BE49-F238E27FC236}">
                  <a16:creationId xmlns:a16="http://schemas.microsoft.com/office/drawing/2014/main" id="{777084F6-118A-4641-9396-5349659D2876}"/>
                </a:ext>
              </a:extLst>
            </p:cNvPr>
            <p:cNvSpPr/>
            <p:nvPr/>
          </p:nvSpPr>
          <p:spPr>
            <a:xfrm>
              <a:off x="838170" y="2934060"/>
              <a:ext cx="418461" cy="415196"/>
            </a:xfrm>
            <a:prstGeom prst="ellipse">
              <a:avLst/>
            </a:prstGeom>
            <a:solidFill>
              <a:srgbClr val="F6F42E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lnSpc>
                  <a:spcPct val="95000"/>
                </a:lnSpc>
              </a:pPr>
              <a:endParaRPr lang="bg-BG" kern="0" dirty="0">
                <a:solidFill>
                  <a:schemeClr val="bg1">
                    <a:lumMod val="50000"/>
                  </a:schemeClr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id="{6136A998-5EA4-4862-97E4-04B30B4768EA}"/>
                </a:ext>
              </a:extLst>
            </p:cNvPr>
            <p:cNvSpPr/>
            <p:nvPr/>
          </p:nvSpPr>
          <p:spPr>
            <a:xfrm>
              <a:off x="882502" y="2968740"/>
              <a:ext cx="382772" cy="3273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PT Sans Caption" pitchFamily="34" charset="-52"/>
                </a:rPr>
                <a:t>4.</a:t>
              </a:r>
              <a:endParaRPr lang="ru-RU" sz="1600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3D7F2A8-98B9-9B47-8E0B-9FC19F12B9B1}"/>
              </a:ext>
            </a:extLst>
          </p:cNvPr>
          <p:cNvSpPr txBox="1">
            <a:spLocks/>
          </p:cNvSpPr>
          <p:nvPr/>
        </p:nvSpPr>
        <p:spPr>
          <a:xfrm>
            <a:off x="607104" y="430248"/>
            <a:ext cx="10879446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defTabSz="931016"/>
            <a:r>
              <a:rPr lang="ru-RU" dirty="0"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Вывод из оборота</a:t>
            </a:r>
            <a:endParaRPr lang="bg-BG" dirty="0">
              <a:latin typeface="PT Sans Caption" pitchFamily="34" charset="-52"/>
              <a:cs typeface="Helvetica"/>
            </a:endParaRPr>
          </a:p>
        </p:txBody>
      </p:sp>
      <p:sp>
        <p:nvSpPr>
          <p:cNvPr id="5" name="Rectangle 7"/>
          <p:cNvSpPr/>
          <p:nvPr/>
        </p:nvSpPr>
        <p:spPr>
          <a:xfrm>
            <a:off x="2065796" y="1838243"/>
            <a:ext cx="5164344" cy="511544"/>
          </a:xfrm>
          <a:prstGeom prst="rect">
            <a:avLst/>
          </a:prstGeom>
          <a:solidFill>
            <a:srgbClr val="F6F42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sp>
        <p:nvSpPr>
          <p:cNvPr id="6" name="Rectangle 179"/>
          <p:cNvSpPr/>
          <p:nvPr/>
        </p:nvSpPr>
        <p:spPr>
          <a:xfrm>
            <a:off x="2222218" y="1857660"/>
            <a:ext cx="5677771" cy="4708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Bef>
                <a:spcPts val="1205"/>
              </a:spcBef>
            </a:pP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Другие причины вывода из оборота</a:t>
            </a:r>
          </a:p>
        </p:txBody>
      </p:sp>
      <p:pic>
        <p:nvPicPr>
          <p:cNvPr id="7" name="Рисунок 6" descr="icon-5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67833" y="1669312"/>
            <a:ext cx="1335885" cy="797442"/>
          </a:xfrm>
          <a:prstGeom prst="rect">
            <a:avLst/>
          </a:prstGeom>
        </p:spPr>
      </p:pic>
      <p:grpSp>
        <p:nvGrpSpPr>
          <p:cNvPr id="8" name="Группа 7"/>
          <p:cNvGrpSpPr/>
          <p:nvPr/>
        </p:nvGrpSpPr>
        <p:grpSpPr>
          <a:xfrm>
            <a:off x="910829" y="2934060"/>
            <a:ext cx="427104" cy="415196"/>
            <a:chOff x="838170" y="2934060"/>
            <a:chExt cx="427104" cy="415196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777084F6-118A-4641-9396-5349659D2876}"/>
                </a:ext>
              </a:extLst>
            </p:cNvPr>
            <p:cNvSpPr/>
            <p:nvPr/>
          </p:nvSpPr>
          <p:spPr>
            <a:xfrm>
              <a:off x="838170" y="2934060"/>
              <a:ext cx="418461" cy="415196"/>
            </a:xfrm>
            <a:prstGeom prst="ellipse">
              <a:avLst/>
            </a:prstGeom>
            <a:solidFill>
              <a:srgbClr val="F6F42E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lnSpc>
                  <a:spcPct val="95000"/>
                </a:lnSpc>
              </a:pPr>
              <a:endParaRPr lang="bg-BG" kern="0" dirty="0">
                <a:solidFill>
                  <a:schemeClr val="bg1">
                    <a:lumMod val="50000"/>
                  </a:schemeClr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6136A998-5EA4-4862-97E4-04B30B4768EA}"/>
                </a:ext>
              </a:extLst>
            </p:cNvPr>
            <p:cNvSpPr/>
            <p:nvPr/>
          </p:nvSpPr>
          <p:spPr>
            <a:xfrm>
              <a:off x="882502" y="2968740"/>
              <a:ext cx="382772" cy="3273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PT Sans Caption" pitchFamily="34" charset="-52"/>
                </a:rPr>
                <a:t>1.</a:t>
              </a:r>
              <a:endParaRPr lang="ru-RU" sz="1600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EEF6A83E-0384-4739-A6F8-F46D9356DC44}"/>
              </a:ext>
            </a:extLst>
          </p:cNvPr>
          <p:cNvSpPr txBox="1"/>
          <p:nvPr/>
        </p:nvSpPr>
        <p:spPr>
          <a:xfrm>
            <a:off x="1531082" y="2868393"/>
            <a:ext cx="5613998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Продажа юр. лицу или ИП </a:t>
            </a:r>
            <a:r>
              <a:rPr lang="ru-RU" sz="1600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не для дальнейшей </a:t>
            </a:r>
          </a:p>
          <a:p>
            <a:r>
              <a:rPr lang="ru-RU" sz="1600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перепродажи</a:t>
            </a:r>
          </a:p>
          <a:p>
            <a:endParaRPr lang="ru-RU" sz="1600" dirty="0">
              <a:solidFill>
                <a:srgbClr val="595959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Open Sans" panose="020B0606030504020204" pitchFamily="34" charset="0"/>
            </a:endParaRPr>
          </a:p>
          <a:p>
            <a:endParaRPr lang="ru-RU" sz="1600" dirty="0">
              <a:solidFill>
                <a:srgbClr val="595959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Open Sans" panose="020B0606030504020204" pitchFamily="34" charset="0"/>
            </a:endParaRPr>
          </a:p>
          <a:p>
            <a:r>
              <a:rPr lang="ru-RU" sz="1600" b="1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Списание</a:t>
            </a:r>
            <a:r>
              <a:rPr lang="ru-RU" sz="1600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 в случае утери или порчи</a:t>
            </a:r>
          </a:p>
          <a:p>
            <a:endParaRPr lang="ru-RU" sz="1600" dirty="0">
              <a:solidFill>
                <a:srgbClr val="595959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Open Sans" panose="020B0606030504020204" pitchFamily="34" charset="0"/>
            </a:endParaRPr>
          </a:p>
          <a:p>
            <a:endParaRPr lang="ru-RU" sz="1600" dirty="0">
              <a:solidFill>
                <a:srgbClr val="595959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Open Sans" panose="020B0606030504020204" pitchFamily="34" charset="0"/>
            </a:endParaRPr>
          </a:p>
          <a:p>
            <a:r>
              <a:rPr lang="ru-RU" sz="1600" b="1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Экспорт</a:t>
            </a:r>
          </a:p>
          <a:p>
            <a:endParaRPr lang="ru-RU" sz="1600" dirty="0">
              <a:solidFill>
                <a:srgbClr val="595959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Open Sans" panose="020B0606030504020204" pitchFamily="34" charset="0"/>
            </a:endParaRPr>
          </a:p>
          <a:p>
            <a:endParaRPr lang="ru-RU" sz="1600" dirty="0">
              <a:solidFill>
                <a:srgbClr val="595959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Open Sans" panose="020B0606030504020204" pitchFamily="34" charset="0"/>
            </a:endParaRPr>
          </a:p>
          <a:p>
            <a:r>
              <a:rPr lang="ru-RU" sz="1600" b="1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Open Sans" panose="020B0606030504020204" pitchFamily="34" charset="0"/>
              </a:rPr>
              <a:t>Продажа по образцам</a:t>
            </a:r>
          </a:p>
        </p:txBody>
      </p:sp>
      <p:grpSp>
        <p:nvGrpSpPr>
          <p:cNvPr id="12" name="Группа 11"/>
          <p:cNvGrpSpPr/>
          <p:nvPr/>
        </p:nvGrpSpPr>
        <p:grpSpPr>
          <a:xfrm>
            <a:off x="910829" y="3788213"/>
            <a:ext cx="427104" cy="415196"/>
            <a:chOff x="838170" y="2934060"/>
            <a:chExt cx="427104" cy="415196"/>
          </a:xfrm>
        </p:grpSpPr>
        <p:sp>
          <p:nvSpPr>
            <p:cNvPr id="13" name="Oval 8">
              <a:extLst>
                <a:ext uri="{FF2B5EF4-FFF2-40B4-BE49-F238E27FC236}">
                  <a16:creationId xmlns:a16="http://schemas.microsoft.com/office/drawing/2014/main" id="{777084F6-118A-4641-9396-5349659D2876}"/>
                </a:ext>
              </a:extLst>
            </p:cNvPr>
            <p:cNvSpPr/>
            <p:nvPr/>
          </p:nvSpPr>
          <p:spPr>
            <a:xfrm>
              <a:off x="838170" y="2934060"/>
              <a:ext cx="418461" cy="415196"/>
            </a:xfrm>
            <a:prstGeom prst="ellipse">
              <a:avLst/>
            </a:prstGeom>
            <a:solidFill>
              <a:srgbClr val="F6F42E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lnSpc>
                  <a:spcPct val="95000"/>
                </a:lnSpc>
              </a:pPr>
              <a:endParaRPr lang="bg-BG" kern="0" dirty="0">
                <a:solidFill>
                  <a:schemeClr val="bg1">
                    <a:lumMod val="50000"/>
                  </a:schemeClr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6136A998-5EA4-4862-97E4-04B30B4768EA}"/>
                </a:ext>
              </a:extLst>
            </p:cNvPr>
            <p:cNvSpPr/>
            <p:nvPr/>
          </p:nvSpPr>
          <p:spPr>
            <a:xfrm>
              <a:off x="882502" y="2968740"/>
              <a:ext cx="382772" cy="3273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PT Sans Caption" pitchFamily="34" charset="-52"/>
                </a:rPr>
                <a:t>2.</a:t>
              </a:r>
              <a:endParaRPr lang="ru-RU" sz="1600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</p:grpSp>
      <p:grpSp>
        <p:nvGrpSpPr>
          <p:cNvPr id="15" name="Группа 14"/>
          <p:cNvGrpSpPr/>
          <p:nvPr/>
        </p:nvGrpSpPr>
        <p:grpSpPr>
          <a:xfrm>
            <a:off x="910829" y="4532495"/>
            <a:ext cx="427104" cy="415196"/>
            <a:chOff x="838170" y="2934060"/>
            <a:chExt cx="427104" cy="415196"/>
          </a:xfrm>
        </p:grpSpPr>
        <p:sp>
          <p:nvSpPr>
            <p:cNvPr id="16" name="Oval 8">
              <a:extLst>
                <a:ext uri="{FF2B5EF4-FFF2-40B4-BE49-F238E27FC236}">
                  <a16:creationId xmlns:a16="http://schemas.microsoft.com/office/drawing/2014/main" id="{777084F6-118A-4641-9396-5349659D2876}"/>
                </a:ext>
              </a:extLst>
            </p:cNvPr>
            <p:cNvSpPr/>
            <p:nvPr/>
          </p:nvSpPr>
          <p:spPr>
            <a:xfrm>
              <a:off x="838170" y="2934060"/>
              <a:ext cx="418461" cy="415196"/>
            </a:xfrm>
            <a:prstGeom prst="ellipse">
              <a:avLst/>
            </a:prstGeom>
            <a:solidFill>
              <a:srgbClr val="F6F42E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lnSpc>
                  <a:spcPct val="95000"/>
                </a:lnSpc>
              </a:pPr>
              <a:endParaRPr lang="bg-BG" kern="0" dirty="0">
                <a:solidFill>
                  <a:schemeClr val="bg1">
                    <a:lumMod val="50000"/>
                  </a:schemeClr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id="{6136A998-5EA4-4862-97E4-04B30B4768EA}"/>
                </a:ext>
              </a:extLst>
            </p:cNvPr>
            <p:cNvSpPr/>
            <p:nvPr/>
          </p:nvSpPr>
          <p:spPr>
            <a:xfrm>
              <a:off x="882502" y="2968740"/>
              <a:ext cx="382772" cy="3273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PT Sans Caption" pitchFamily="34" charset="-52"/>
                </a:rPr>
                <a:t>3.</a:t>
              </a:r>
              <a:endParaRPr lang="ru-RU" sz="1600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</p:grpSp>
      <p:grpSp>
        <p:nvGrpSpPr>
          <p:cNvPr id="18" name="Группа 17"/>
          <p:cNvGrpSpPr/>
          <p:nvPr/>
        </p:nvGrpSpPr>
        <p:grpSpPr>
          <a:xfrm>
            <a:off x="910829" y="5248419"/>
            <a:ext cx="427104" cy="415196"/>
            <a:chOff x="838170" y="2934060"/>
            <a:chExt cx="427104" cy="415196"/>
          </a:xfrm>
        </p:grpSpPr>
        <p:sp>
          <p:nvSpPr>
            <p:cNvPr id="19" name="Oval 8">
              <a:extLst>
                <a:ext uri="{FF2B5EF4-FFF2-40B4-BE49-F238E27FC236}">
                  <a16:creationId xmlns:a16="http://schemas.microsoft.com/office/drawing/2014/main" id="{777084F6-118A-4641-9396-5349659D2876}"/>
                </a:ext>
              </a:extLst>
            </p:cNvPr>
            <p:cNvSpPr/>
            <p:nvPr/>
          </p:nvSpPr>
          <p:spPr>
            <a:xfrm>
              <a:off x="838170" y="2934060"/>
              <a:ext cx="418461" cy="415196"/>
            </a:xfrm>
            <a:prstGeom prst="ellipse">
              <a:avLst/>
            </a:prstGeom>
            <a:solidFill>
              <a:srgbClr val="F6F42E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lnSpc>
                  <a:spcPct val="95000"/>
                </a:lnSpc>
              </a:pPr>
              <a:endParaRPr lang="bg-BG" kern="0" dirty="0">
                <a:solidFill>
                  <a:schemeClr val="bg1">
                    <a:lumMod val="50000"/>
                  </a:schemeClr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20" name="Прямоугольник 19">
              <a:extLst>
                <a:ext uri="{FF2B5EF4-FFF2-40B4-BE49-F238E27FC236}">
                  <a16:creationId xmlns:a16="http://schemas.microsoft.com/office/drawing/2014/main" id="{6136A998-5EA4-4862-97E4-04B30B4768EA}"/>
                </a:ext>
              </a:extLst>
            </p:cNvPr>
            <p:cNvSpPr/>
            <p:nvPr/>
          </p:nvSpPr>
          <p:spPr>
            <a:xfrm>
              <a:off x="882502" y="2968740"/>
              <a:ext cx="382772" cy="3273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PT Sans Caption" pitchFamily="34" charset="-52"/>
                </a:rPr>
                <a:t>4.</a:t>
              </a:r>
              <a:endParaRPr lang="ru-RU" sz="1600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</p:grpSp>
      <p:pic>
        <p:nvPicPr>
          <p:cNvPr id="21" name="Рисунок 20" descr="Маркировка обуви новая правки -4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755673" y="2449024"/>
            <a:ext cx="3365984" cy="313307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3D7F2A8-98B9-9B47-8E0B-9FC19F12B9B1}"/>
              </a:ext>
            </a:extLst>
          </p:cNvPr>
          <p:cNvSpPr txBox="1">
            <a:spLocks/>
          </p:cNvSpPr>
          <p:nvPr/>
        </p:nvSpPr>
        <p:spPr>
          <a:xfrm>
            <a:off x="522040" y="430248"/>
            <a:ext cx="10879446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r>
              <a:rPr lang="ru-RU" dirty="0"/>
              <a:t>Единый оператор системы — ЦРПТ</a:t>
            </a:r>
            <a:endParaRPr lang="en-US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C79815F-69B5-453C-BEA0-CC4E8DD26D8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l="4472" t="2913" r="2511" b="3869"/>
          <a:stretch/>
        </p:blipFill>
        <p:spPr>
          <a:xfrm>
            <a:off x="542260" y="1395529"/>
            <a:ext cx="11121200" cy="5132862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Рисунок 19" descr="site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240719" y="2634215"/>
            <a:ext cx="4391300" cy="3426712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E3D7F2A8-98B9-9B47-8E0B-9FC19F12B9B1}"/>
              </a:ext>
            </a:extLst>
          </p:cNvPr>
          <p:cNvSpPr txBox="1">
            <a:spLocks/>
          </p:cNvSpPr>
          <p:nvPr/>
        </p:nvSpPr>
        <p:spPr>
          <a:xfrm>
            <a:off x="607104" y="430248"/>
            <a:ext cx="10879446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defTabSz="931016"/>
            <a:r>
              <a:rPr lang="ru-RU" dirty="0"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Вывод из оборота</a:t>
            </a:r>
            <a:endParaRPr lang="bg-BG" dirty="0">
              <a:latin typeface="PT Sans Caption" pitchFamily="34" charset="-52"/>
              <a:cs typeface="Helvetica"/>
            </a:endParaRPr>
          </a:p>
        </p:txBody>
      </p:sp>
      <p:sp>
        <p:nvSpPr>
          <p:cNvPr id="4" name="Rectangle 7"/>
          <p:cNvSpPr/>
          <p:nvPr/>
        </p:nvSpPr>
        <p:spPr>
          <a:xfrm>
            <a:off x="2065796" y="1838243"/>
            <a:ext cx="5472688" cy="511544"/>
          </a:xfrm>
          <a:prstGeom prst="rect">
            <a:avLst/>
          </a:prstGeom>
          <a:solidFill>
            <a:srgbClr val="F6F42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sp>
        <p:nvSpPr>
          <p:cNvPr id="5" name="Rectangle 179"/>
          <p:cNvSpPr/>
          <p:nvPr/>
        </p:nvSpPr>
        <p:spPr>
          <a:xfrm>
            <a:off x="2222218" y="1857660"/>
            <a:ext cx="5677771" cy="4708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Bef>
                <a:spcPts val="1205"/>
              </a:spcBef>
            </a:pP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При продаже через Интернет-магазин</a:t>
            </a:r>
          </a:p>
        </p:txBody>
      </p:sp>
      <p:pic>
        <p:nvPicPr>
          <p:cNvPr id="6" name="Рисунок 5" descr="icon-5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67833" y="1669312"/>
            <a:ext cx="1335885" cy="797442"/>
          </a:xfrm>
          <a:prstGeom prst="rect">
            <a:avLst/>
          </a:prstGeom>
        </p:spPr>
      </p:pic>
      <p:grpSp>
        <p:nvGrpSpPr>
          <p:cNvPr id="7" name="Группа 6"/>
          <p:cNvGrpSpPr/>
          <p:nvPr/>
        </p:nvGrpSpPr>
        <p:grpSpPr>
          <a:xfrm>
            <a:off x="910829" y="2934060"/>
            <a:ext cx="427104" cy="415196"/>
            <a:chOff x="838170" y="2934060"/>
            <a:chExt cx="427104" cy="415196"/>
          </a:xfrm>
        </p:grpSpPr>
        <p:sp>
          <p:nvSpPr>
            <p:cNvPr id="8" name="Oval 8">
              <a:extLst>
                <a:ext uri="{FF2B5EF4-FFF2-40B4-BE49-F238E27FC236}">
                  <a16:creationId xmlns:a16="http://schemas.microsoft.com/office/drawing/2014/main" id="{777084F6-118A-4641-9396-5349659D2876}"/>
                </a:ext>
              </a:extLst>
            </p:cNvPr>
            <p:cNvSpPr/>
            <p:nvPr/>
          </p:nvSpPr>
          <p:spPr>
            <a:xfrm>
              <a:off x="838170" y="2934060"/>
              <a:ext cx="418461" cy="415196"/>
            </a:xfrm>
            <a:prstGeom prst="ellipse">
              <a:avLst/>
            </a:prstGeom>
            <a:solidFill>
              <a:srgbClr val="F6F42E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lnSpc>
                  <a:spcPct val="95000"/>
                </a:lnSpc>
              </a:pPr>
              <a:endParaRPr lang="bg-BG" kern="0" dirty="0">
                <a:solidFill>
                  <a:schemeClr val="bg1">
                    <a:lumMod val="50000"/>
                  </a:schemeClr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6136A998-5EA4-4862-97E4-04B30B4768EA}"/>
                </a:ext>
              </a:extLst>
            </p:cNvPr>
            <p:cNvSpPr/>
            <p:nvPr/>
          </p:nvSpPr>
          <p:spPr>
            <a:xfrm>
              <a:off x="882502" y="2968740"/>
              <a:ext cx="382772" cy="3273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PT Sans Caption" pitchFamily="34" charset="-52"/>
                </a:rPr>
                <a:t>1.</a:t>
              </a:r>
              <a:endParaRPr lang="ru-RU" sz="1600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EEF6A83E-0384-4739-A6F8-F46D9356DC44}"/>
              </a:ext>
            </a:extLst>
          </p:cNvPr>
          <p:cNvSpPr txBox="1"/>
          <p:nvPr/>
        </p:nvSpPr>
        <p:spPr>
          <a:xfrm>
            <a:off x="1531081" y="2868393"/>
            <a:ext cx="6368909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/>
            <a:r>
              <a:rPr lang="ru-RU" sz="1600" b="1" dirty="0">
                <a:solidFill>
                  <a:srgbClr val="595959"/>
                </a:solidFill>
                <a:latin typeface="PT Sans Caption" pitchFamily="34" charset="-52"/>
              </a:rPr>
              <a:t>Подача сведений в ГИС МТ </a:t>
            </a:r>
            <a:r>
              <a:rPr lang="ru-RU" sz="1600" dirty="0">
                <a:solidFill>
                  <a:srgbClr val="595959"/>
                </a:solidFill>
                <a:latin typeface="PT Sans Caption" pitchFamily="34" charset="-52"/>
              </a:rPr>
              <a:t>при передаче службе </a:t>
            </a:r>
          </a:p>
          <a:p>
            <a:pPr marL="457200" indent="-457200"/>
            <a:r>
              <a:rPr lang="ru-RU" sz="1600" dirty="0">
                <a:solidFill>
                  <a:srgbClr val="595959"/>
                </a:solidFill>
                <a:latin typeface="PT Sans Caption" pitchFamily="34" charset="-52"/>
              </a:rPr>
              <a:t>доставки</a:t>
            </a:r>
          </a:p>
          <a:p>
            <a:pPr marL="457200" indent="-457200"/>
            <a:endParaRPr lang="ru-RU" sz="1600" dirty="0">
              <a:solidFill>
                <a:srgbClr val="595959"/>
              </a:solidFill>
              <a:latin typeface="PT Sans Caption" pitchFamily="34" charset="-52"/>
            </a:endParaRPr>
          </a:p>
          <a:p>
            <a:pPr marL="457200" indent="-457200"/>
            <a:endParaRPr lang="ru-RU" sz="1600" dirty="0">
              <a:solidFill>
                <a:srgbClr val="595959"/>
              </a:solidFill>
              <a:latin typeface="PT Sans Caption" pitchFamily="34" charset="-52"/>
            </a:endParaRPr>
          </a:p>
          <a:p>
            <a:pPr marL="457200" indent="-457200"/>
            <a:r>
              <a:rPr lang="ru-RU" sz="1600" b="1" dirty="0">
                <a:solidFill>
                  <a:srgbClr val="595959"/>
                </a:solidFill>
                <a:latin typeface="PT Sans Caption" pitchFamily="34" charset="-52"/>
              </a:rPr>
              <a:t>Выбытие по отгрузке </a:t>
            </a:r>
            <a:r>
              <a:rPr lang="ru-RU" sz="1600" dirty="0">
                <a:solidFill>
                  <a:srgbClr val="595959"/>
                </a:solidFill>
                <a:latin typeface="PT Sans Caption" pitchFamily="34" charset="-52"/>
              </a:rPr>
              <a:t>службе доставки</a:t>
            </a:r>
          </a:p>
          <a:p>
            <a:pPr marL="457200" indent="-457200"/>
            <a:endParaRPr lang="ru-RU" sz="1600" dirty="0">
              <a:solidFill>
                <a:srgbClr val="595959"/>
              </a:solidFill>
              <a:latin typeface="PT Sans Caption" pitchFamily="34" charset="-52"/>
            </a:endParaRPr>
          </a:p>
          <a:p>
            <a:pPr marL="457200" indent="-457200"/>
            <a:endParaRPr lang="ru-RU" sz="1600" dirty="0">
              <a:solidFill>
                <a:srgbClr val="595959"/>
              </a:solidFill>
              <a:latin typeface="PT Sans Caption" pitchFamily="34" charset="-52"/>
            </a:endParaRPr>
          </a:p>
          <a:p>
            <a:pPr marL="457200" indent="-457200"/>
            <a:r>
              <a:rPr lang="ru-RU" sz="1600" b="1" dirty="0">
                <a:solidFill>
                  <a:srgbClr val="595959"/>
                </a:solidFill>
                <a:latin typeface="PT Sans Caption" pitchFamily="34" charset="-52"/>
              </a:rPr>
              <a:t>Выбытие при доставке </a:t>
            </a:r>
            <a:r>
              <a:rPr lang="ru-RU" sz="1600" dirty="0">
                <a:solidFill>
                  <a:srgbClr val="595959"/>
                </a:solidFill>
                <a:latin typeface="PT Sans Caption" pitchFamily="34" charset="-52"/>
              </a:rPr>
              <a:t>конечному получателю</a:t>
            </a:r>
          </a:p>
          <a:p>
            <a:pPr marL="457200" indent="-457200"/>
            <a:endParaRPr lang="ru-RU" sz="1600" dirty="0">
              <a:solidFill>
                <a:srgbClr val="595959"/>
              </a:solidFill>
              <a:latin typeface="PT Sans Caption" pitchFamily="34" charset="-52"/>
            </a:endParaRPr>
          </a:p>
          <a:p>
            <a:pPr marL="457200" indent="-457200"/>
            <a:endParaRPr lang="ru-RU" sz="1600" dirty="0">
              <a:solidFill>
                <a:srgbClr val="595959"/>
              </a:solidFill>
              <a:latin typeface="PT Sans Caption" pitchFamily="34" charset="-52"/>
            </a:endParaRPr>
          </a:p>
          <a:p>
            <a:pPr marL="457200" indent="-457200"/>
            <a:r>
              <a:rPr lang="ru-RU" sz="1600" b="1" dirty="0">
                <a:solidFill>
                  <a:srgbClr val="595959"/>
                </a:solidFill>
                <a:latin typeface="PT Sans Caption" pitchFamily="34" charset="-52"/>
              </a:rPr>
              <a:t>Присутствие КМ </a:t>
            </a:r>
            <a:r>
              <a:rPr lang="ru-RU" sz="1600" dirty="0">
                <a:solidFill>
                  <a:srgbClr val="595959"/>
                </a:solidFill>
                <a:latin typeface="PT Sans Caption" pitchFamily="34" charset="-52"/>
              </a:rPr>
              <a:t>при выбытии товара обязательно </a:t>
            </a:r>
          </a:p>
          <a:p>
            <a:pPr marL="457200" indent="-457200"/>
            <a:r>
              <a:rPr lang="ru-RU" sz="1600" dirty="0">
                <a:solidFill>
                  <a:srgbClr val="595959"/>
                </a:solidFill>
                <a:latin typeface="PT Sans Caption" pitchFamily="34" charset="-52"/>
              </a:rPr>
              <a:t>в кассовом чеке согласно действующему ФЗ</a:t>
            </a:r>
          </a:p>
        </p:txBody>
      </p:sp>
      <p:grpSp>
        <p:nvGrpSpPr>
          <p:cNvPr id="11" name="Группа 10"/>
          <p:cNvGrpSpPr/>
          <p:nvPr/>
        </p:nvGrpSpPr>
        <p:grpSpPr>
          <a:xfrm>
            <a:off x="910829" y="3788213"/>
            <a:ext cx="427104" cy="415196"/>
            <a:chOff x="838170" y="2934060"/>
            <a:chExt cx="427104" cy="415196"/>
          </a:xfrm>
        </p:grpSpPr>
        <p:sp>
          <p:nvSpPr>
            <p:cNvPr id="12" name="Oval 8">
              <a:extLst>
                <a:ext uri="{FF2B5EF4-FFF2-40B4-BE49-F238E27FC236}">
                  <a16:creationId xmlns:a16="http://schemas.microsoft.com/office/drawing/2014/main" id="{777084F6-118A-4641-9396-5349659D2876}"/>
                </a:ext>
              </a:extLst>
            </p:cNvPr>
            <p:cNvSpPr/>
            <p:nvPr/>
          </p:nvSpPr>
          <p:spPr>
            <a:xfrm>
              <a:off x="838170" y="2934060"/>
              <a:ext cx="418461" cy="415196"/>
            </a:xfrm>
            <a:prstGeom prst="ellipse">
              <a:avLst/>
            </a:prstGeom>
            <a:solidFill>
              <a:srgbClr val="F6F42E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lnSpc>
                  <a:spcPct val="95000"/>
                </a:lnSpc>
              </a:pPr>
              <a:endParaRPr lang="bg-BG" kern="0" dirty="0">
                <a:solidFill>
                  <a:schemeClr val="bg1">
                    <a:lumMod val="50000"/>
                  </a:schemeClr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6136A998-5EA4-4862-97E4-04B30B4768EA}"/>
                </a:ext>
              </a:extLst>
            </p:cNvPr>
            <p:cNvSpPr/>
            <p:nvPr/>
          </p:nvSpPr>
          <p:spPr>
            <a:xfrm>
              <a:off x="882502" y="2968740"/>
              <a:ext cx="382772" cy="3273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PT Sans Caption" pitchFamily="34" charset="-52"/>
                </a:rPr>
                <a:t>2.</a:t>
              </a:r>
              <a:endParaRPr lang="ru-RU" sz="1600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</p:grpSp>
      <p:grpSp>
        <p:nvGrpSpPr>
          <p:cNvPr id="14" name="Группа 13"/>
          <p:cNvGrpSpPr/>
          <p:nvPr/>
        </p:nvGrpSpPr>
        <p:grpSpPr>
          <a:xfrm>
            <a:off x="910829" y="4532495"/>
            <a:ext cx="427104" cy="415196"/>
            <a:chOff x="838170" y="2934060"/>
            <a:chExt cx="427104" cy="415196"/>
          </a:xfrm>
        </p:grpSpPr>
        <p:sp>
          <p:nvSpPr>
            <p:cNvPr id="15" name="Oval 8">
              <a:extLst>
                <a:ext uri="{FF2B5EF4-FFF2-40B4-BE49-F238E27FC236}">
                  <a16:creationId xmlns:a16="http://schemas.microsoft.com/office/drawing/2014/main" id="{777084F6-118A-4641-9396-5349659D2876}"/>
                </a:ext>
              </a:extLst>
            </p:cNvPr>
            <p:cNvSpPr/>
            <p:nvPr/>
          </p:nvSpPr>
          <p:spPr>
            <a:xfrm>
              <a:off x="838170" y="2934060"/>
              <a:ext cx="418461" cy="415196"/>
            </a:xfrm>
            <a:prstGeom prst="ellipse">
              <a:avLst/>
            </a:prstGeom>
            <a:solidFill>
              <a:srgbClr val="F6F42E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lnSpc>
                  <a:spcPct val="95000"/>
                </a:lnSpc>
              </a:pPr>
              <a:endParaRPr lang="bg-BG" kern="0" dirty="0">
                <a:solidFill>
                  <a:schemeClr val="bg1">
                    <a:lumMod val="50000"/>
                  </a:schemeClr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6136A998-5EA4-4862-97E4-04B30B4768EA}"/>
                </a:ext>
              </a:extLst>
            </p:cNvPr>
            <p:cNvSpPr/>
            <p:nvPr/>
          </p:nvSpPr>
          <p:spPr>
            <a:xfrm>
              <a:off x="882502" y="2968740"/>
              <a:ext cx="382772" cy="3273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PT Sans Caption" pitchFamily="34" charset="-52"/>
                </a:rPr>
                <a:t>3.</a:t>
              </a:r>
              <a:endParaRPr lang="ru-RU" sz="1600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910829" y="5354749"/>
            <a:ext cx="427104" cy="415196"/>
            <a:chOff x="838170" y="2934060"/>
            <a:chExt cx="427104" cy="415196"/>
          </a:xfrm>
        </p:grpSpPr>
        <p:sp>
          <p:nvSpPr>
            <p:cNvPr id="18" name="Oval 8">
              <a:extLst>
                <a:ext uri="{FF2B5EF4-FFF2-40B4-BE49-F238E27FC236}">
                  <a16:creationId xmlns:a16="http://schemas.microsoft.com/office/drawing/2014/main" id="{777084F6-118A-4641-9396-5349659D2876}"/>
                </a:ext>
              </a:extLst>
            </p:cNvPr>
            <p:cNvSpPr/>
            <p:nvPr/>
          </p:nvSpPr>
          <p:spPr>
            <a:xfrm>
              <a:off x="838170" y="2934060"/>
              <a:ext cx="418461" cy="415196"/>
            </a:xfrm>
            <a:prstGeom prst="ellipse">
              <a:avLst/>
            </a:prstGeom>
            <a:solidFill>
              <a:srgbClr val="F6F42E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lnSpc>
                  <a:spcPct val="95000"/>
                </a:lnSpc>
              </a:pPr>
              <a:endParaRPr lang="bg-BG" kern="0" dirty="0">
                <a:solidFill>
                  <a:schemeClr val="bg1">
                    <a:lumMod val="50000"/>
                  </a:schemeClr>
                </a:solidFill>
                <a:latin typeface="PT Sans Caption" panose="020B0603020203020204" pitchFamily="34" charset="0"/>
                <a:sym typeface="PT Sans Caption" panose="020B0603020203020204" pitchFamily="34" charset="0"/>
              </a:endParaRPr>
            </a:p>
          </p:txBody>
        </p:sp>
        <p:sp>
          <p:nvSpPr>
            <p:cNvPr id="19" name="Прямоугольник 18">
              <a:extLst>
                <a:ext uri="{FF2B5EF4-FFF2-40B4-BE49-F238E27FC236}">
                  <a16:creationId xmlns:a16="http://schemas.microsoft.com/office/drawing/2014/main" id="{6136A998-5EA4-4862-97E4-04B30B4768EA}"/>
                </a:ext>
              </a:extLst>
            </p:cNvPr>
            <p:cNvSpPr/>
            <p:nvPr/>
          </p:nvSpPr>
          <p:spPr>
            <a:xfrm>
              <a:off x="882502" y="2968740"/>
              <a:ext cx="382772" cy="3273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PT Sans Caption" pitchFamily="34" charset="-52"/>
                </a:rPr>
                <a:t>4.</a:t>
              </a:r>
              <a:endParaRPr lang="ru-RU" sz="1600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AFCB3B52-1DEC-4006-AF31-033E74C922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66" y="1621"/>
          <a:ext cx="1621" cy="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0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66" y="1621"/>
                        <a:ext cx="1621" cy="162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7BD063C1-0254-4038-BBAB-D5E42DD296D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45" y="0"/>
            <a:ext cx="162051" cy="162051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3D7F2A8-98B9-9B47-8E0B-9FC19F12B9B1}"/>
              </a:ext>
            </a:extLst>
          </p:cNvPr>
          <p:cNvSpPr txBox="1">
            <a:spLocks/>
          </p:cNvSpPr>
          <p:nvPr/>
        </p:nvSpPr>
        <p:spPr>
          <a:xfrm>
            <a:off x="607104" y="430248"/>
            <a:ext cx="10879446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defTabSz="931016"/>
            <a:r>
              <a:rPr lang="ru-RU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Общественный контроль</a:t>
            </a:r>
            <a:endParaRPr lang="bg-BG" dirty="0">
              <a:cs typeface="Helvetica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CDC97B0-5997-4C4B-A45A-39FC9D5472B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711339" y="1872819"/>
            <a:ext cx="5690708" cy="4268030"/>
          </a:xfrm>
          <a:prstGeom prst="rect">
            <a:avLst/>
          </a:prstGeom>
        </p:spPr>
      </p:pic>
      <p:pic>
        <p:nvPicPr>
          <p:cNvPr id="8" name="Рисунок 7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CBC7D86F-2834-4E95-B1E3-2AC3FB8CD33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38"/>
          <a:stretch/>
        </p:blipFill>
        <p:spPr>
          <a:xfrm>
            <a:off x="4268030" y="1173103"/>
            <a:ext cx="2753094" cy="5684897"/>
          </a:xfrm>
          <a:prstGeom prst="rect">
            <a:avLst/>
          </a:prstGeom>
        </p:spPr>
      </p:pic>
      <p:pic>
        <p:nvPicPr>
          <p:cNvPr id="45076" name="Picture 20" descr="https://4.bp.blogspot.com/-0JHdNVC9gU0/W-GM5Vq8EPI/AAAAAAAAPqY/dDOSLD0HafAVO7WHNZk-KuDznZel1ZSbQCLcBGAs/s1600/App%2BStore.png">
            <a:extLst>
              <a:ext uri="{FF2B5EF4-FFF2-40B4-BE49-F238E27FC236}">
                <a16:creationId xmlns:a16="http://schemas.microsoft.com/office/drawing/2014/main" id="{0DC8C535-42ED-4A0B-B460-78821B93DD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4840" y="903670"/>
            <a:ext cx="1449498" cy="1087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078" name="Picture 22" descr="https://lktgt.kponline.ru/img/Google_Play_Logo.png">
            <a:extLst>
              <a:ext uri="{FF2B5EF4-FFF2-40B4-BE49-F238E27FC236}">
                <a16:creationId xmlns:a16="http://schemas.microsoft.com/office/drawing/2014/main" id="{338D899E-4C12-4FAC-B03C-FD43ACBA3F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5898" y="4078376"/>
            <a:ext cx="1327382" cy="389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F9FAC7E-5709-41A2-B057-38D05E12ACBC}"/>
              </a:ext>
            </a:extLst>
          </p:cNvPr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8420815" y="4479019"/>
            <a:ext cx="2317548" cy="2373169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9A83DC2-F059-4DC0-BC9A-642F14D2579E}"/>
              </a:ext>
            </a:extLst>
          </p:cNvPr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8420815" y="1705266"/>
            <a:ext cx="2317549" cy="2336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969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3D7F2A8-98B9-9B47-8E0B-9FC19F12B9B1}"/>
              </a:ext>
            </a:extLst>
          </p:cNvPr>
          <p:cNvSpPr txBox="1">
            <a:spLocks/>
          </p:cNvSpPr>
          <p:nvPr/>
        </p:nvSpPr>
        <p:spPr>
          <a:xfrm>
            <a:off x="607104" y="430248"/>
            <a:ext cx="10879446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defTabSz="931016"/>
            <a:r>
              <a:rPr lang="ru-RU" dirty="0"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Ответственность </a:t>
            </a:r>
            <a:endParaRPr lang="bg-BG" dirty="0">
              <a:cs typeface="Helvetica"/>
            </a:endParaRPr>
          </a:p>
        </p:txBody>
      </p:sp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AC13D751-EF36-4C57-B925-986A8020BD7F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872372" y="2564486"/>
            <a:ext cx="3624770" cy="2879384"/>
          </a:xfrm>
          <a:prstGeom prst="rect">
            <a:avLst/>
          </a:prstGeom>
        </p:spPr>
      </p:pic>
      <p:sp>
        <p:nvSpPr>
          <p:cNvPr id="39" name="Rectangle 7"/>
          <p:cNvSpPr/>
          <p:nvPr/>
        </p:nvSpPr>
        <p:spPr>
          <a:xfrm>
            <a:off x="1768115" y="1870147"/>
            <a:ext cx="7067542" cy="511553"/>
          </a:xfrm>
          <a:prstGeom prst="rect">
            <a:avLst/>
          </a:prstGeom>
          <a:solidFill>
            <a:srgbClr val="F6F42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sp>
        <p:nvSpPr>
          <p:cNvPr id="40" name="Rectangle 179"/>
          <p:cNvSpPr/>
          <p:nvPr/>
        </p:nvSpPr>
        <p:spPr>
          <a:xfrm>
            <a:off x="1839473" y="1836400"/>
            <a:ext cx="7091917" cy="587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/>
            <a:r>
              <a:rPr lang="ru-RU" sz="1600" b="1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  <a:t>Статья 15.12 Кодекса РФ об административных правонарушениях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EF6A83E-0384-4739-A6F8-F46D9356DC44}"/>
              </a:ext>
            </a:extLst>
          </p:cNvPr>
          <p:cNvSpPr txBox="1"/>
          <p:nvPr/>
        </p:nvSpPr>
        <p:spPr>
          <a:xfrm>
            <a:off x="574152" y="4271877"/>
            <a:ext cx="685799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8000" indent="-288000" fontAlgn="base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400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  <a:t>на граждан —  </a:t>
            </a:r>
            <a:r>
              <a:rPr lang="ru-RU" sz="1400" b="1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  <a:t>2 000–4 000 рублей </a:t>
            </a:r>
            <a:br>
              <a:rPr lang="ru-RU" sz="1400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</a:br>
            <a:r>
              <a:rPr lang="ru-RU" sz="1400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  <a:t>с конфискацией предметов административного правонарушения;</a:t>
            </a:r>
          </a:p>
          <a:p>
            <a:pPr marL="288000" indent="-288000" fontAlgn="base">
              <a:buClr>
                <a:srgbClr val="F8F200"/>
              </a:buClr>
              <a:buFont typeface="Arial" pitchFamily="34" charset="0"/>
              <a:buChar char="•"/>
            </a:pPr>
            <a:endParaRPr lang="ru-RU" sz="1400" dirty="0">
              <a:solidFill>
                <a:srgbClr val="595959"/>
              </a:solidFill>
              <a:latin typeface="PT Sans Caption" panose="020B0603020203020204" pitchFamily="34" charset="-52"/>
              <a:ea typeface="PT Sans Caption" panose="020B0603020203020204" pitchFamily="34" charset="-52"/>
            </a:endParaRPr>
          </a:p>
          <a:p>
            <a:pPr marL="288000" indent="-288000" fontAlgn="base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400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  <a:t>на юридических лиц — </a:t>
            </a:r>
            <a:r>
              <a:rPr lang="ru-RU" sz="1400" b="1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  <a:t>50 000–300 000 рублей </a:t>
            </a:r>
            <a:br>
              <a:rPr lang="ru-RU" sz="1400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</a:br>
            <a:r>
              <a:rPr lang="ru-RU" sz="1400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  <a:t>с конфискацией предметов административного правонарушения;</a:t>
            </a:r>
          </a:p>
          <a:p>
            <a:pPr marL="288000" indent="-288000" fontAlgn="base">
              <a:buClr>
                <a:srgbClr val="F8F200"/>
              </a:buClr>
              <a:buFont typeface="Arial" pitchFamily="34" charset="0"/>
              <a:buChar char="•"/>
            </a:pPr>
            <a:endParaRPr lang="ru-RU" sz="1400" dirty="0">
              <a:solidFill>
                <a:srgbClr val="595959"/>
              </a:solidFill>
              <a:latin typeface="PT Sans Caption" panose="020B0603020203020204" pitchFamily="34" charset="-52"/>
              <a:ea typeface="PT Sans Caption" panose="020B0603020203020204" pitchFamily="34" charset="-52"/>
            </a:endParaRPr>
          </a:p>
          <a:p>
            <a:pPr marL="288000" indent="-288000" fontAlgn="base">
              <a:buClr>
                <a:srgbClr val="F8F200"/>
              </a:buClr>
              <a:buFont typeface="Arial" pitchFamily="34" charset="0"/>
              <a:buChar char="•"/>
            </a:pPr>
            <a:r>
              <a:rPr lang="ru-RU" sz="1400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  <a:t>на должностных лиц —  </a:t>
            </a:r>
            <a:r>
              <a:rPr lang="ru-RU" sz="1400" b="1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  <a:t>5 000–10 000 рублей </a:t>
            </a:r>
            <a:br>
              <a:rPr lang="ru-RU" sz="1400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</a:br>
            <a:r>
              <a:rPr lang="ru-RU" sz="1400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  <a:t>с конфискацией предметов административного правонарушения.</a:t>
            </a:r>
          </a:p>
        </p:txBody>
      </p:sp>
      <p:sp>
        <p:nvSpPr>
          <p:cNvPr id="43" name="Rectangle 179"/>
          <p:cNvSpPr/>
          <p:nvPr/>
        </p:nvSpPr>
        <p:spPr>
          <a:xfrm>
            <a:off x="843509" y="2669311"/>
            <a:ext cx="7343561" cy="129663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/>
            <a:r>
              <a:rPr lang="ru-RU" sz="1600" b="1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  <a:t>В случае производства или продажи товаров, в отношении которых установлены требования по маркировке, без соответствующей маркировки, а также с нарушением установленного порядка нанесения такой маркировки предусмотрены штрафы:</a:t>
            </a:r>
          </a:p>
        </p:txBody>
      </p:sp>
      <p:pic>
        <p:nvPicPr>
          <p:cNvPr id="45" name="Picture 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91479" y="1796587"/>
            <a:ext cx="671506" cy="6715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80CD27D0-4329-4118-9FF7-77F8392C155B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837659" y="4282124"/>
            <a:ext cx="1150090" cy="1406298"/>
          </a:xfrm>
          <a:prstGeom prst="rect">
            <a:avLst/>
          </a:prstGeom>
        </p:spPr>
      </p:pic>
      <p:pic>
        <p:nvPicPr>
          <p:cNvPr id="53" name="Рисунок 52">
            <a:extLst>
              <a:ext uri="{FF2B5EF4-FFF2-40B4-BE49-F238E27FC236}">
                <a16:creationId xmlns:a16="http://schemas.microsoft.com/office/drawing/2014/main" id="{2ED1BD59-E68D-4E68-91BD-B6ABF7EA7D6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/>
          <a:srcRect t="2938"/>
          <a:stretch/>
        </p:blipFill>
        <p:spPr>
          <a:xfrm>
            <a:off x="4646429" y="4402860"/>
            <a:ext cx="1307804" cy="1203001"/>
          </a:xfrm>
          <a:prstGeom prst="rect">
            <a:avLst/>
          </a:prstGeom>
        </p:spPr>
      </p:pic>
      <p:pic>
        <p:nvPicPr>
          <p:cNvPr id="57" name="Рисунок 56">
            <a:extLst>
              <a:ext uri="{FF2B5EF4-FFF2-40B4-BE49-F238E27FC236}">
                <a16:creationId xmlns:a16="http://schemas.microsoft.com/office/drawing/2014/main" id="{47AC658D-6FDF-4C7A-AC4C-C6AD2E95EB57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248206" y="4547403"/>
            <a:ext cx="1662428" cy="907100"/>
          </a:xfrm>
          <a:prstGeom prst="rect">
            <a:avLst/>
          </a:prstGeom>
        </p:spPr>
      </p:pic>
      <p:pic>
        <p:nvPicPr>
          <p:cNvPr id="59" name="Рисунок 58">
            <a:extLst>
              <a:ext uri="{FF2B5EF4-FFF2-40B4-BE49-F238E27FC236}">
                <a16:creationId xmlns:a16="http://schemas.microsoft.com/office/drawing/2014/main" id="{C1A7DFBB-08CE-44F2-83EC-8E71DEF5C28E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0266303" y="4316147"/>
            <a:ext cx="1227493" cy="1204762"/>
          </a:xfrm>
          <a:prstGeom prst="rect">
            <a:avLst/>
          </a:prstGeom>
        </p:spPr>
      </p:pic>
      <p:cxnSp>
        <p:nvCxnSpPr>
          <p:cNvPr id="67" name="Прямая соединительная линия 66"/>
          <p:cNvCxnSpPr/>
          <p:nvPr/>
        </p:nvCxnSpPr>
        <p:spPr>
          <a:xfrm>
            <a:off x="2438400" y="4004930"/>
            <a:ext cx="0" cy="340242"/>
          </a:xfrm>
          <a:prstGeom prst="line">
            <a:avLst/>
          </a:prstGeom>
          <a:ln w="25400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/>
          <p:nvPr/>
        </p:nvCxnSpPr>
        <p:spPr>
          <a:xfrm>
            <a:off x="5305646" y="4004930"/>
            <a:ext cx="0" cy="340242"/>
          </a:xfrm>
          <a:prstGeom prst="line">
            <a:avLst/>
          </a:prstGeom>
          <a:ln w="25400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/>
          <p:nvPr/>
        </p:nvCxnSpPr>
        <p:spPr>
          <a:xfrm>
            <a:off x="8098465" y="4004930"/>
            <a:ext cx="0" cy="340242"/>
          </a:xfrm>
          <a:prstGeom prst="line">
            <a:avLst/>
          </a:prstGeom>
          <a:ln w="25400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/>
        </p:nvCxnSpPr>
        <p:spPr>
          <a:xfrm>
            <a:off x="10955079" y="4004930"/>
            <a:ext cx="0" cy="340242"/>
          </a:xfrm>
          <a:prstGeom prst="line">
            <a:avLst/>
          </a:prstGeom>
          <a:ln w="25400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>
            <a:off x="1073889" y="3540641"/>
            <a:ext cx="0" cy="340242"/>
          </a:xfrm>
          <a:prstGeom prst="line">
            <a:avLst/>
          </a:prstGeom>
          <a:ln w="25400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>
            <a:off x="3824176" y="3540641"/>
            <a:ext cx="0" cy="340242"/>
          </a:xfrm>
          <a:prstGeom prst="line">
            <a:avLst/>
          </a:prstGeom>
          <a:ln w="25400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>
            <a:off x="6691423" y="3540641"/>
            <a:ext cx="0" cy="340242"/>
          </a:xfrm>
          <a:prstGeom prst="line">
            <a:avLst/>
          </a:prstGeom>
          <a:ln w="25400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71"/>
          <p:cNvCxnSpPr/>
          <p:nvPr/>
        </p:nvCxnSpPr>
        <p:spPr>
          <a:xfrm>
            <a:off x="9526772" y="3540641"/>
            <a:ext cx="0" cy="340242"/>
          </a:xfrm>
          <a:prstGeom prst="line">
            <a:avLst/>
          </a:prstGeom>
          <a:ln w="25400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2" name="Рисунок 61">
            <a:extLst>
              <a:ext uri="{FF2B5EF4-FFF2-40B4-BE49-F238E27FC236}">
                <a16:creationId xmlns:a16="http://schemas.microsoft.com/office/drawing/2014/main" id="{4F797D0C-60AC-4346-B8CC-B1FF383F106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/>
          <a:srcRect t="739"/>
          <a:stretch/>
        </p:blipFill>
        <p:spPr>
          <a:xfrm>
            <a:off x="10021333" y="1481252"/>
            <a:ext cx="1185375" cy="1338969"/>
          </a:xfrm>
          <a:prstGeom prst="rect">
            <a:avLst/>
          </a:prstGeom>
        </p:spPr>
      </p:pic>
      <p:pic>
        <p:nvPicPr>
          <p:cNvPr id="51" name="Рисунок 50" descr="Маркировка обуви новая правки -29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169964" y="1422601"/>
            <a:ext cx="1189390" cy="1555148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E3D7F2A8-98B9-9B47-8E0B-9FC19F12B9B1}"/>
              </a:ext>
            </a:extLst>
          </p:cNvPr>
          <p:cNvSpPr txBox="1">
            <a:spLocks/>
          </p:cNvSpPr>
          <p:nvPr/>
        </p:nvSpPr>
        <p:spPr>
          <a:xfrm>
            <a:off x="607104" y="430248"/>
            <a:ext cx="10879446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defTabSz="931016"/>
            <a:r>
              <a:rPr lang="ru-RU" dirty="0"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Что необходимо сделать участнику оборота</a:t>
            </a:r>
            <a:endParaRPr lang="bg-BG" dirty="0">
              <a:latin typeface="PT Sans Caption" pitchFamily="34" charset="-52"/>
              <a:cs typeface="Helvetica"/>
            </a:endParaRPr>
          </a:p>
        </p:txBody>
      </p:sp>
      <p:cxnSp>
        <p:nvCxnSpPr>
          <p:cNvPr id="4" name="Straight Connector 26">
            <a:extLst>
              <a:ext uri="{FF2B5EF4-FFF2-40B4-BE49-F238E27FC236}">
                <a16:creationId xmlns:a16="http://schemas.microsoft.com/office/drawing/2014/main" id="{46A05292-30AA-944A-B13B-9158E7DF1A5E}"/>
              </a:ext>
            </a:extLst>
          </p:cNvPr>
          <p:cNvCxnSpPr/>
          <p:nvPr/>
        </p:nvCxnSpPr>
        <p:spPr>
          <a:xfrm rot="5400000" flipH="1">
            <a:off x="6081421" y="-2143368"/>
            <a:ext cx="11030" cy="12168000"/>
          </a:xfrm>
          <a:prstGeom prst="line">
            <a:avLst/>
          </a:prstGeom>
          <a:ln w="25400" cap="rnd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0" y="3095418"/>
            <a:ext cx="2513077" cy="36933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/>
            <a:r>
              <a:rPr lang="ru-RU" sz="1200" b="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Оформить УКЭП и установить ПО для работы с УКЭП </a:t>
            </a:r>
          </a:p>
        </p:txBody>
      </p:sp>
      <p:grpSp>
        <p:nvGrpSpPr>
          <p:cNvPr id="24" name="Группа 23"/>
          <p:cNvGrpSpPr/>
          <p:nvPr/>
        </p:nvGrpSpPr>
        <p:grpSpPr>
          <a:xfrm>
            <a:off x="891346" y="3760864"/>
            <a:ext cx="382772" cy="335994"/>
            <a:chOff x="1369831" y="3755549"/>
            <a:chExt cx="382772" cy="335994"/>
          </a:xfrm>
        </p:grpSpPr>
        <p:sp>
          <p:nvSpPr>
            <p:cNvPr id="9" name="Oval 16"/>
            <p:cNvSpPr>
              <a:spLocks noChangeArrowheads="1"/>
            </p:cNvSpPr>
            <p:nvPr/>
          </p:nvSpPr>
          <p:spPr bwMode="auto">
            <a:xfrm>
              <a:off x="1383856" y="3767543"/>
              <a:ext cx="324000" cy="324000"/>
            </a:xfrm>
            <a:prstGeom prst="ellipse">
              <a:avLst/>
            </a:prstGeom>
            <a:solidFill>
              <a:srgbClr val="F6F42E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595959"/>
                </a:solidFill>
                <a:latin typeface="PT Sans Caption"/>
                <a:cs typeface="+mn-cs"/>
              </a:endParaRPr>
            </a:p>
          </p:txBody>
        </p:sp>
        <p:sp>
          <p:nvSpPr>
            <p:cNvPr id="23" name="Прямоугольник 22">
              <a:extLst>
                <a:ext uri="{FF2B5EF4-FFF2-40B4-BE49-F238E27FC236}">
                  <a16:creationId xmlns:a16="http://schemas.microsoft.com/office/drawing/2014/main" id="{6136A998-5EA4-4862-97E4-04B30B4768EA}"/>
                </a:ext>
              </a:extLst>
            </p:cNvPr>
            <p:cNvSpPr/>
            <p:nvPr/>
          </p:nvSpPr>
          <p:spPr>
            <a:xfrm>
              <a:off x="1369831" y="3755549"/>
              <a:ext cx="382772" cy="27419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PT Sans Caption" pitchFamily="34" charset="-52"/>
                </a:rPr>
                <a:t>1.</a:t>
              </a:r>
              <a:endParaRPr lang="ru-RU" sz="1600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</p:grpSp>
      <p:grpSp>
        <p:nvGrpSpPr>
          <p:cNvPr id="25" name="Группа 24"/>
          <p:cNvGrpSpPr/>
          <p:nvPr/>
        </p:nvGrpSpPr>
        <p:grpSpPr>
          <a:xfrm>
            <a:off x="2266511" y="3760864"/>
            <a:ext cx="382772" cy="335994"/>
            <a:chOff x="1369831" y="3755549"/>
            <a:chExt cx="382772" cy="335994"/>
          </a:xfrm>
        </p:grpSpPr>
        <p:sp>
          <p:nvSpPr>
            <p:cNvPr id="26" name="Oval 16"/>
            <p:cNvSpPr>
              <a:spLocks noChangeArrowheads="1"/>
            </p:cNvSpPr>
            <p:nvPr/>
          </p:nvSpPr>
          <p:spPr bwMode="auto">
            <a:xfrm>
              <a:off x="1383856" y="3767543"/>
              <a:ext cx="324000" cy="324000"/>
            </a:xfrm>
            <a:prstGeom prst="ellipse">
              <a:avLst/>
            </a:prstGeom>
            <a:solidFill>
              <a:srgbClr val="F6F42E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595959"/>
                </a:solidFill>
                <a:latin typeface="PT Sans Caption"/>
                <a:cs typeface="+mn-cs"/>
              </a:endParaRPr>
            </a:p>
          </p:txBody>
        </p:sp>
        <p:sp>
          <p:nvSpPr>
            <p:cNvPr id="27" name="Прямоугольник 26">
              <a:extLst>
                <a:ext uri="{FF2B5EF4-FFF2-40B4-BE49-F238E27FC236}">
                  <a16:creationId xmlns:a16="http://schemas.microsoft.com/office/drawing/2014/main" id="{6136A998-5EA4-4862-97E4-04B30B4768EA}"/>
                </a:ext>
              </a:extLst>
            </p:cNvPr>
            <p:cNvSpPr/>
            <p:nvPr/>
          </p:nvSpPr>
          <p:spPr>
            <a:xfrm>
              <a:off x="1369831" y="3755549"/>
              <a:ext cx="382772" cy="27419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PT Sans Caption" pitchFamily="34" charset="-52"/>
                </a:rPr>
                <a:t>2.</a:t>
              </a:r>
              <a:endParaRPr lang="ru-RU" sz="1600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</p:grpSp>
      <p:pic>
        <p:nvPicPr>
          <p:cNvPr id="28" name="Рисунок 27" descr="icon-10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 rot="5400000">
            <a:off x="805107" y="1476205"/>
            <a:ext cx="670135" cy="1334708"/>
          </a:xfrm>
          <a:prstGeom prst="rect">
            <a:avLst/>
          </a:prstGeom>
        </p:spPr>
      </p:pic>
      <p:grpSp>
        <p:nvGrpSpPr>
          <p:cNvPr id="29" name="Группа 28"/>
          <p:cNvGrpSpPr/>
          <p:nvPr/>
        </p:nvGrpSpPr>
        <p:grpSpPr>
          <a:xfrm>
            <a:off x="3659361" y="3760864"/>
            <a:ext cx="382772" cy="335994"/>
            <a:chOff x="1369831" y="3755549"/>
            <a:chExt cx="382772" cy="335994"/>
          </a:xfrm>
        </p:grpSpPr>
        <p:sp>
          <p:nvSpPr>
            <p:cNvPr id="30" name="Oval 16"/>
            <p:cNvSpPr>
              <a:spLocks noChangeArrowheads="1"/>
            </p:cNvSpPr>
            <p:nvPr/>
          </p:nvSpPr>
          <p:spPr bwMode="auto">
            <a:xfrm>
              <a:off x="1383856" y="3767543"/>
              <a:ext cx="324000" cy="324000"/>
            </a:xfrm>
            <a:prstGeom prst="ellipse">
              <a:avLst/>
            </a:prstGeom>
            <a:solidFill>
              <a:srgbClr val="F6F42E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595959"/>
                </a:solidFill>
                <a:latin typeface="PT Sans Caption"/>
                <a:cs typeface="+mn-cs"/>
              </a:endParaRPr>
            </a:p>
          </p:txBody>
        </p:sp>
        <p:sp>
          <p:nvSpPr>
            <p:cNvPr id="31" name="Прямоугольник 30">
              <a:extLst>
                <a:ext uri="{FF2B5EF4-FFF2-40B4-BE49-F238E27FC236}">
                  <a16:creationId xmlns:a16="http://schemas.microsoft.com/office/drawing/2014/main" id="{6136A998-5EA4-4862-97E4-04B30B4768EA}"/>
                </a:ext>
              </a:extLst>
            </p:cNvPr>
            <p:cNvSpPr/>
            <p:nvPr/>
          </p:nvSpPr>
          <p:spPr>
            <a:xfrm>
              <a:off x="1369831" y="3755549"/>
              <a:ext cx="382772" cy="27419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PT Sans Caption" pitchFamily="34" charset="-52"/>
                </a:rPr>
                <a:t>3.</a:t>
              </a:r>
              <a:endParaRPr lang="ru-RU" sz="1600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</p:grpSp>
      <p:grpSp>
        <p:nvGrpSpPr>
          <p:cNvPr id="32" name="Группа 31"/>
          <p:cNvGrpSpPr/>
          <p:nvPr/>
        </p:nvGrpSpPr>
        <p:grpSpPr>
          <a:xfrm>
            <a:off x="5119590" y="3760864"/>
            <a:ext cx="382772" cy="335994"/>
            <a:chOff x="1369831" y="3755549"/>
            <a:chExt cx="382772" cy="335994"/>
          </a:xfrm>
        </p:grpSpPr>
        <p:sp>
          <p:nvSpPr>
            <p:cNvPr id="33" name="Oval 16"/>
            <p:cNvSpPr>
              <a:spLocks noChangeArrowheads="1"/>
            </p:cNvSpPr>
            <p:nvPr/>
          </p:nvSpPr>
          <p:spPr bwMode="auto">
            <a:xfrm>
              <a:off x="1383856" y="3767543"/>
              <a:ext cx="324000" cy="324000"/>
            </a:xfrm>
            <a:prstGeom prst="ellipse">
              <a:avLst/>
            </a:prstGeom>
            <a:solidFill>
              <a:srgbClr val="F6F42E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595959"/>
                </a:solidFill>
                <a:latin typeface="PT Sans Caption"/>
                <a:cs typeface="+mn-cs"/>
              </a:endParaRPr>
            </a:p>
          </p:txBody>
        </p:sp>
        <p:sp>
          <p:nvSpPr>
            <p:cNvPr id="34" name="Прямоугольник 33">
              <a:extLst>
                <a:ext uri="{FF2B5EF4-FFF2-40B4-BE49-F238E27FC236}">
                  <a16:creationId xmlns:a16="http://schemas.microsoft.com/office/drawing/2014/main" id="{6136A998-5EA4-4862-97E4-04B30B4768EA}"/>
                </a:ext>
              </a:extLst>
            </p:cNvPr>
            <p:cNvSpPr/>
            <p:nvPr/>
          </p:nvSpPr>
          <p:spPr>
            <a:xfrm>
              <a:off x="1369831" y="3755549"/>
              <a:ext cx="382772" cy="27419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PT Sans Caption" pitchFamily="34" charset="-52"/>
                </a:rPr>
                <a:t>4.</a:t>
              </a:r>
              <a:endParaRPr lang="ru-RU" sz="1600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</p:grpSp>
      <p:grpSp>
        <p:nvGrpSpPr>
          <p:cNvPr id="35" name="Группа 34"/>
          <p:cNvGrpSpPr/>
          <p:nvPr/>
        </p:nvGrpSpPr>
        <p:grpSpPr>
          <a:xfrm>
            <a:off x="6508909" y="3760864"/>
            <a:ext cx="382772" cy="335994"/>
            <a:chOff x="1369831" y="3755549"/>
            <a:chExt cx="382772" cy="335994"/>
          </a:xfrm>
        </p:grpSpPr>
        <p:sp>
          <p:nvSpPr>
            <p:cNvPr id="36" name="Oval 16"/>
            <p:cNvSpPr>
              <a:spLocks noChangeArrowheads="1"/>
            </p:cNvSpPr>
            <p:nvPr/>
          </p:nvSpPr>
          <p:spPr bwMode="auto">
            <a:xfrm>
              <a:off x="1383856" y="3767543"/>
              <a:ext cx="324000" cy="324000"/>
            </a:xfrm>
            <a:prstGeom prst="ellipse">
              <a:avLst/>
            </a:prstGeom>
            <a:solidFill>
              <a:srgbClr val="F6F42E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595959"/>
                </a:solidFill>
                <a:latin typeface="PT Sans Caption"/>
                <a:cs typeface="+mn-cs"/>
              </a:endParaRPr>
            </a:p>
          </p:txBody>
        </p:sp>
        <p:sp>
          <p:nvSpPr>
            <p:cNvPr id="37" name="Прямоугольник 36">
              <a:extLst>
                <a:ext uri="{FF2B5EF4-FFF2-40B4-BE49-F238E27FC236}">
                  <a16:creationId xmlns:a16="http://schemas.microsoft.com/office/drawing/2014/main" id="{6136A998-5EA4-4862-97E4-04B30B4768EA}"/>
                </a:ext>
              </a:extLst>
            </p:cNvPr>
            <p:cNvSpPr/>
            <p:nvPr/>
          </p:nvSpPr>
          <p:spPr>
            <a:xfrm>
              <a:off x="1369831" y="3755549"/>
              <a:ext cx="382772" cy="27419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PT Sans Caption" pitchFamily="34" charset="-52"/>
                </a:rPr>
                <a:t>5.</a:t>
              </a:r>
              <a:endParaRPr lang="ru-RU" sz="1600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</p:grpSp>
      <p:grpSp>
        <p:nvGrpSpPr>
          <p:cNvPr id="38" name="Группа 37"/>
          <p:cNvGrpSpPr/>
          <p:nvPr/>
        </p:nvGrpSpPr>
        <p:grpSpPr>
          <a:xfrm>
            <a:off x="7915973" y="3760864"/>
            <a:ext cx="382772" cy="335994"/>
            <a:chOff x="1369831" y="3755549"/>
            <a:chExt cx="382772" cy="335994"/>
          </a:xfrm>
        </p:grpSpPr>
        <p:sp>
          <p:nvSpPr>
            <p:cNvPr id="39" name="Oval 16"/>
            <p:cNvSpPr>
              <a:spLocks noChangeArrowheads="1"/>
            </p:cNvSpPr>
            <p:nvPr/>
          </p:nvSpPr>
          <p:spPr bwMode="auto">
            <a:xfrm>
              <a:off x="1383856" y="3767543"/>
              <a:ext cx="324000" cy="324000"/>
            </a:xfrm>
            <a:prstGeom prst="ellipse">
              <a:avLst/>
            </a:prstGeom>
            <a:solidFill>
              <a:srgbClr val="F6F42E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595959"/>
                </a:solidFill>
                <a:latin typeface="PT Sans Caption"/>
                <a:cs typeface="+mn-cs"/>
              </a:endParaRPr>
            </a:p>
          </p:txBody>
        </p:sp>
        <p:sp>
          <p:nvSpPr>
            <p:cNvPr id="40" name="Прямоугольник 39">
              <a:extLst>
                <a:ext uri="{FF2B5EF4-FFF2-40B4-BE49-F238E27FC236}">
                  <a16:creationId xmlns:a16="http://schemas.microsoft.com/office/drawing/2014/main" id="{6136A998-5EA4-4862-97E4-04B30B4768EA}"/>
                </a:ext>
              </a:extLst>
            </p:cNvPr>
            <p:cNvSpPr/>
            <p:nvPr/>
          </p:nvSpPr>
          <p:spPr>
            <a:xfrm>
              <a:off x="1369831" y="3755549"/>
              <a:ext cx="382772" cy="27419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PT Sans Caption" pitchFamily="34" charset="-52"/>
                </a:rPr>
                <a:t>6.</a:t>
              </a:r>
              <a:endParaRPr lang="ru-RU" sz="1600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</p:grpSp>
      <p:grpSp>
        <p:nvGrpSpPr>
          <p:cNvPr id="41" name="Группа 40"/>
          <p:cNvGrpSpPr/>
          <p:nvPr/>
        </p:nvGrpSpPr>
        <p:grpSpPr>
          <a:xfrm>
            <a:off x="9340722" y="3760864"/>
            <a:ext cx="382772" cy="335994"/>
            <a:chOff x="1369831" y="3755549"/>
            <a:chExt cx="382772" cy="335994"/>
          </a:xfrm>
        </p:grpSpPr>
        <p:sp>
          <p:nvSpPr>
            <p:cNvPr id="42" name="Oval 16"/>
            <p:cNvSpPr>
              <a:spLocks noChangeArrowheads="1"/>
            </p:cNvSpPr>
            <p:nvPr/>
          </p:nvSpPr>
          <p:spPr bwMode="auto">
            <a:xfrm>
              <a:off x="1383856" y="3767543"/>
              <a:ext cx="324000" cy="324000"/>
            </a:xfrm>
            <a:prstGeom prst="ellipse">
              <a:avLst/>
            </a:prstGeom>
            <a:solidFill>
              <a:srgbClr val="F6F42E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595959"/>
                </a:solidFill>
                <a:latin typeface="PT Sans Caption"/>
                <a:cs typeface="+mn-cs"/>
              </a:endParaRPr>
            </a:p>
          </p:txBody>
        </p:sp>
        <p:sp>
          <p:nvSpPr>
            <p:cNvPr id="43" name="Прямоугольник 42">
              <a:extLst>
                <a:ext uri="{FF2B5EF4-FFF2-40B4-BE49-F238E27FC236}">
                  <a16:creationId xmlns:a16="http://schemas.microsoft.com/office/drawing/2014/main" id="{6136A998-5EA4-4862-97E4-04B30B4768EA}"/>
                </a:ext>
              </a:extLst>
            </p:cNvPr>
            <p:cNvSpPr/>
            <p:nvPr/>
          </p:nvSpPr>
          <p:spPr>
            <a:xfrm>
              <a:off x="1369831" y="3755549"/>
              <a:ext cx="382772" cy="27419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PT Sans Caption" pitchFamily="34" charset="-52"/>
                </a:rPr>
                <a:t>7.</a:t>
              </a:r>
              <a:endParaRPr lang="ru-RU" sz="1600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</p:grpSp>
      <p:grpSp>
        <p:nvGrpSpPr>
          <p:cNvPr id="44" name="Группа 43"/>
          <p:cNvGrpSpPr/>
          <p:nvPr/>
        </p:nvGrpSpPr>
        <p:grpSpPr>
          <a:xfrm>
            <a:off x="10758419" y="3760864"/>
            <a:ext cx="382772" cy="335994"/>
            <a:chOff x="1369831" y="3755549"/>
            <a:chExt cx="382772" cy="335994"/>
          </a:xfrm>
        </p:grpSpPr>
        <p:sp>
          <p:nvSpPr>
            <p:cNvPr id="45" name="Oval 16"/>
            <p:cNvSpPr>
              <a:spLocks noChangeArrowheads="1"/>
            </p:cNvSpPr>
            <p:nvPr/>
          </p:nvSpPr>
          <p:spPr bwMode="auto">
            <a:xfrm>
              <a:off x="1383856" y="3767543"/>
              <a:ext cx="324000" cy="324000"/>
            </a:xfrm>
            <a:prstGeom prst="ellipse">
              <a:avLst/>
            </a:prstGeom>
            <a:solidFill>
              <a:srgbClr val="F6F42E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595959"/>
                </a:solidFill>
                <a:latin typeface="PT Sans Caption"/>
                <a:cs typeface="+mn-cs"/>
              </a:endParaRPr>
            </a:p>
          </p:txBody>
        </p:sp>
        <p:sp>
          <p:nvSpPr>
            <p:cNvPr id="46" name="Прямоугольник 45">
              <a:extLst>
                <a:ext uri="{FF2B5EF4-FFF2-40B4-BE49-F238E27FC236}">
                  <a16:creationId xmlns:a16="http://schemas.microsoft.com/office/drawing/2014/main" id="{6136A998-5EA4-4862-97E4-04B30B4768EA}"/>
                </a:ext>
              </a:extLst>
            </p:cNvPr>
            <p:cNvSpPr/>
            <p:nvPr/>
          </p:nvSpPr>
          <p:spPr>
            <a:xfrm>
              <a:off x="1369831" y="3755549"/>
              <a:ext cx="382772" cy="27419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PT Sans Caption" pitchFamily="34" charset="-52"/>
                </a:rPr>
                <a:t>8.</a:t>
              </a:r>
              <a:endParaRPr lang="ru-RU" sz="1600" dirty="0">
                <a:solidFill>
                  <a:srgbClr val="595959"/>
                </a:solidFill>
                <a:latin typeface="PT Sans Caption" pitchFamily="34" charset="-52"/>
              </a:endParaRPr>
            </a:p>
          </p:txBody>
        </p:sp>
      </p:grpSp>
      <p:sp>
        <p:nvSpPr>
          <p:cNvPr id="47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1381979" y="5788990"/>
            <a:ext cx="2084231" cy="36933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/>
            <a:r>
              <a:rPr lang="ru-RU" sz="1200" b="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Зарегистрироваться </a:t>
            </a:r>
          </a:p>
          <a:p>
            <a:pPr algn="ctr"/>
            <a:r>
              <a:rPr lang="ru-RU" sz="1200" b="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в ЛК и заполнить профиль</a:t>
            </a:r>
          </a:p>
        </p:txBody>
      </p:sp>
      <p:sp>
        <p:nvSpPr>
          <p:cNvPr id="49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2923708" y="3095418"/>
            <a:ext cx="1885751" cy="36933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/>
            <a:r>
              <a:rPr lang="ru-RU" sz="1200" b="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Заключить договора </a:t>
            </a:r>
          </a:p>
          <a:p>
            <a:pPr algn="ctr"/>
            <a:r>
              <a:rPr lang="ru-RU" sz="1200" b="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с Оператором-ЦРПТ</a:t>
            </a:r>
          </a:p>
        </p:txBody>
      </p:sp>
      <p:sp>
        <p:nvSpPr>
          <p:cNvPr id="52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4171253" y="5788990"/>
            <a:ext cx="2084231" cy="36933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/>
            <a:r>
              <a:rPr lang="ru-RU" sz="1200" b="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Описать товары в личном кабинете </a:t>
            </a:r>
          </a:p>
        </p:txBody>
      </p:sp>
      <p:sp>
        <p:nvSpPr>
          <p:cNvPr id="54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5681084" y="3095418"/>
            <a:ext cx="1885751" cy="184666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/>
            <a:r>
              <a:rPr lang="ru-RU" sz="1200" b="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Получить доступ к ПАК</a:t>
            </a:r>
          </a:p>
        </p:txBody>
      </p:sp>
      <p:pic>
        <p:nvPicPr>
          <p:cNvPr id="55" name="Рисунок 54">
            <a:extLst>
              <a:ext uri="{FF2B5EF4-FFF2-40B4-BE49-F238E27FC236}">
                <a16:creationId xmlns:a16="http://schemas.microsoft.com/office/drawing/2014/main" id="{E46C17B3-5F76-4568-96D2-E1AA13B8DC9E}"/>
              </a:ext>
            </a:extLst>
          </p:cNvPr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5318795" y="2044144"/>
            <a:ext cx="2644992" cy="578064"/>
          </a:xfrm>
          <a:prstGeom prst="rect">
            <a:avLst/>
          </a:prstGeom>
        </p:spPr>
      </p:pic>
      <p:sp>
        <p:nvSpPr>
          <p:cNvPr id="56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7130649" y="5788990"/>
            <a:ext cx="2084231" cy="36933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/>
            <a:r>
              <a:rPr lang="ru-RU" sz="1200" b="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Заказать коды и нанести их на товар</a:t>
            </a:r>
          </a:p>
        </p:txBody>
      </p:sp>
      <p:sp>
        <p:nvSpPr>
          <p:cNvPr id="58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8619214" y="3095418"/>
            <a:ext cx="1885751" cy="36933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/>
            <a:r>
              <a:rPr lang="ru-RU" sz="1200" b="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При оптовой продаже сформировать УПД</a:t>
            </a:r>
          </a:p>
        </p:txBody>
      </p:sp>
      <p:sp>
        <p:nvSpPr>
          <p:cNvPr id="60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9771067" y="5788990"/>
            <a:ext cx="2084231" cy="553998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/>
            <a:r>
              <a:rPr lang="ru-RU" sz="1200" b="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При розничной продаже вывести товар из оборота при помощи онлайн-кассы</a:t>
            </a:r>
          </a:p>
        </p:txBody>
      </p:sp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2391A77B-98BF-404E-9E64-7CF6063F7F71}"/>
              </a:ext>
            </a:extLst>
          </p:cNvPr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8533358" y="1509687"/>
            <a:ext cx="1865672" cy="14558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3D7F2A8-98B9-9B47-8E0B-9FC19F12B9B1}"/>
              </a:ext>
            </a:extLst>
          </p:cNvPr>
          <p:cNvSpPr txBox="1">
            <a:spLocks/>
          </p:cNvSpPr>
          <p:nvPr/>
        </p:nvSpPr>
        <p:spPr>
          <a:xfrm>
            <a:off x="607104" y="430248"/>
            <a:ext cx="10879446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defTabSz="931016"/>
            <a:r>
              <a:rPr lang="ru-RU" dirty="0"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Что понадобится</a:t>
            </a:r>
            <a:endParaRPr lang="bg-BG" dirty="0">
              <a:latin typeface="PT Sans Caption" pitchFamily="34" charset="-52"/>
              <a:cs typeface="Helvetica"/>
            </a:endParaRPr>
          </a:p>
        </p:txBody>
      </p:sp>
      <p:cxnSp>
        <p:nvCxnSpPr>
          <p:cNvPr id="4" name="Straight Connector 26">
            <a:extLst>
              <a:ext uri="{FF2B5EF4-FFF2-40B4-BE49-F238E27FC236}">
                <a16:creationId xmlns:a16="http://schemas.microsoft.com/office/drawing/2014/main" id="{46A05292-30AA-944A-B13B-9158E7DF1A5E}"/>
              </a:ext>
            </a:extLst>
          </p:cNvPr>
          <p:cNvCxnSpPr/>
          <p:nvPr/>
        </p:nvCxnSpPr>
        <p:spPr>
          <a:xfrm rot="5400000" flipH="1">
            <a:off x="6081421" y="-1696782"/>
            <a:ext cx="11030" cy="12168000"/>
          </a:xfrm>
          <a:prstGeom prst="line">
            <a:avLst/>
          </a:prstGeom>
          <a:ln w="25400" cap="rnd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432146" y="4775372"/>
            <a:ext cx="2229778" cy="73866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/>
            <a:r>
              <a:rPr lang="ru-RU" sz="160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Усиленная</a:t>
            </a:r>
          </a:p>
          <a:p>
            <a:pPr algn="ctr"/>
            <a:r>
              <a:rPr lang="ru-RU" sz="160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квалифицированная </a:t>
            </a:r>
          </a:p>
          <a:p>
            <a:pPr algn="ctr"/>
            <a:r>
              <a:rPr lang="ru-RU" sz="160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электронная подпись</a:t>
            </a:r>
          </a:p>
        </p:txBody>
      </p:sp>
      <p:sp>
        <p:nvSpPr>
          <p:cNvPr id="10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3320292" y="4775372"/>
            <a:ext cx="876587" cy="24622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/>
            <a:r>
              <a:rPr lang="ru-RU" sz="160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Принтер</a:t>
            </a:r>
          </a:p>
        </p:txBody>
      </p:sp>
      <p:sp>
        <p:nvSpPr>
          <p:cNvPr id="11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5281845" y="4775372"/>
            <a:ext cx="1149737" cy="492443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/>
            <a:r>
              <a:rPr lang="ru-RU" sz="160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2</a:t>
            </a:r>
            <a:r>
              <a:rPr lang="en-US" sz="160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D </a:t>
            </a:r>
            <a:r>
              <a:rPr lang="ru-RU" sz="160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сканер </a:t>
            </a:r>
          </a:p>
          <a:p>
            <a:pPr algn="ctr"/>
            <a:r>
              <a:rPr lang="ru-RU" sz="160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штрихкода</a:t>
            </a:r>
          </a:p>
        </p:txBody>
      </p:sp>
      <p:sp>
        <p:nvSpPr>
          <p:cNvPr id="12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7366127" y="4775372"/>
            <a:ext cx="1411348" cy="24622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/>
            <a:r>
              <a:rPr lang="ru-RU" sz="160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Онлайн-касса</a:t>
            </a:r>
          </a:p>
        </p:txBody>
      </p:sp>
      <p:sp>
        <p:nvSpPr>
          <p:cNvPr id="14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9241944" y="4775372"/>
            <a:ext cx="2366418" cy="73866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/>
            <a:r>
              <a:rPr lang="ru-RU" sz="160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Интеграция с ЛК</a:t>
            </a:r>
          </a:p>
          <a:p>
            <a:pPr algn="ctr"/>
            <a:r>
              <a:rPr lang="ru-RU" sz="160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самостоятельно</a:t>
            </a:r>
          </a:p>
          <a:p>
            <a:pPr algn="ctr"/>
            <a:r>
              <a:rPr lang="ru-RU" sz="160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или через интегратора</a:t>
            </a:r>
          </a:p>
        </p:txBody>
      </p:sp>
      <p:grpSp>
        <p:nvGrpSpPr>
          <p:cNvPr id="15" name="Группа 50"/>
          <p:cNvGrpSpPr>
            <a:grpSpLocks noChangeAspect="1"/>
          </p:cNvGrpSpPr>
          <p:nvPr/>
        </p:nvGrpSpPr>
        <p:grpSpPr bwMode="auto">
          <a:xfrm>
            <a:off x="1383856" y="4214129"/>
            <a:ext cx="324000" cy="324000"/>
            <a:chOff x="6525820" y="2527453"/>
            <a:chExt cx="306910" cy="306910"/>
          </a:xfrm>
        </p:grpSpPr>
        <p:sp>
          <p:nvSpPr>
            <p:cNvPr id="16" name="Oval 16"/>
            <p:cNvSpPr>
              <a:spLocks noChangeArrowheads="1"/>
            </p:cNvSpPr>
            <p:nvPr/>
          </p:nvSpPr>
          <p:spPr bwMode="auto">
            <a:xfrm>
              <a:off x="6525820" y="2527453"/>
              <a:ext cx="306910" cy="306910"/>
            </a:xfrm>
            <a:prstGeom prst="ellipse">
              <a:avLst/>
            </a:prstGeom>
            <a:solidFill>
              <a:srgbClr val="F6F42E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595959"/>
                </a:solidFill>
                <a:latin typeface="PT Sans Caption"/>
                <a:cs typeface="+mn-cs"/>
              </a:endParaRPr>
            </a:p>
          </p:txBody>
        </p:sp>
        <p:sp>
          <p:nvSpPr>
            <p:cNvPr id="17" name="Freeform 17"/>
            <p:cNvSpPr>
              <a:spLocks/>
            </p:cNvSpPr>
            <p:nvPr/>
          </p:nvSpPr>
          <p:spPr bwMode="auto">
            <a:xfrm>
              <a:off x="6603030" y="2606594"/>
              <a:ext cx="152490" cy="146699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595959"/>
                </a:solidFill>
                <a:latin typeface="PT Sans Caption"/>
                <a:cs typeface="+mn-cs"/>
              </a:endParaRPr>
            </a:p>
          </p:txBody>
        </p:sp>
      </p:grpSp>
      <p:grpSp>
        <p:nvGrpSpPr>
          <p:cNvPr id="18" name="Группа 50"/>
          <p:cNvGrpSpPr>
            <a:grpSpLocks noChangeAspect="1"/>
          </p:cNvGrpSpPr>
          <p:nvPr/>
        </p:nvGrpSpPr>
        <p:grpSpPr bwMode="auto">
          <a:xfrm>
            <a:off x="3588340" y="4214129"/>
            <a:ext cx="324000" cy="324000"/>
            <a:chOff x="6525820" y="2527453"/>
            <a:chExt cx="306910" cy="306910"/>
          </a:xfrm>
        </p:grpSpPr>
        <p:sp>
          <p:nvSpPr>
            <p:cNvPr id="19" name="Oval 16"/>
            <p:cNvSpPr>
              <a:spLocks noChangeArrowheads="1"/>
            </p:cNvSpPr>
            <p:nvPr/>
          </p:nvSpPr>
          <p:spPr bwMode="auto">
            <a:xfrm>
              <a:off x="6525820" y="2527453"/>
              <a:ext cx="306910" cy="306910"/>
            </a:xfrm>
            <a:prstGeom prst="ellipse">
              <a:avLst/>
            </a:prstGeom>
            <a:solidFill>
              <a:srgbClr val="F6F42E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595959"/>
                </a:solidFill>
                <a:latin typeface="PT Sans Caption"/>
                <a:cs typeface="+mn-cs"/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6603030" y="2606594"/>
              <a:ext cx="152490" cy="146699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595959"/>
                </a:solidFill>
                <a:latin typeface="PT Sans Caption"/>
                <a:cs typeface="+mn-cs"/>
              </a:endParaRPr>
            </a:p>
          </p:txBody>
        </p:sp>
      </p:grpSp>
      <p:grpSp>
        <p:nvGrpSpPr>
          <p:cNvPr id="21" name="Группа 50"/>
          <p:cNvGrpSpPr>
            <a:grpSpLocks noChangeAspect="1"/>
          </p:cNvGrpSpPr>
          <p:nvPr/>
        </p:nvGrpSpPr>
        <p:grpSpPr bwMode="auto">
          <a:xfrm>
            <a:off x="5697125" y="4214129"/>
            <a:ext cx="324000" cy="324000"/>
            <a:chOff x="6525820" y="2527453"/>
            <a:chExt cx="306910" cy="306910"/>
          </a:xfrm>
        </p:grpSpPr>
        <p:sp>
          <p:nvSpPr>
            <p:cNvPr id="22" name="Oval 16"/>
            <p:cNvSpPr>
              <a:spLocks noChangeArrowheads="1"/>
            </p:cNvSpPr>
            <p:nvPr/>
          </p:nvSpPr>
          <p:spPr bwMode="auto">
            <a:xfrm>
              <a:off x="6525820" y="2527453"/>
              <a:ext cx="306910" cy="306910"/>
            </a:xfrm>
            <a:prstGeom prst="ellipse">
              <a:avLst/>
            </a:prstGeom>
            <a:solidFill>
              <a:srgbClr val="F6F42E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595959"/>
                </a:solidFill>
                <a:latin typeface="PT Sans Caption"/>
                <a:cs typeface="+mn-cs"/>
              </a:endParaRPr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603030" y="2606594"/>
              <a:ext cx="152490" cy="146699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595959"/>
                </a:solidFill>
                <a:latin typeface="PT Sans Caption"/>
                <a:cs typeface="+mn-cs"/>
              </a:endParaRPr>
            </a:p>
          </p:txBody>
        </p:sp>
      </p:grpSp>
      <p:grpSp>
        <p:nvGrpSpPr>
          <p:cNvPr id="24" name="Группа 50"/>
          <p:cNvGrpSpPr>
            <a:grpSpLocks noChangeAspect="1"/>
          </p:cNvGrpSpPr>
          <p:nvPr/>
        </p:nvGrpSpPr>
        <p:grpSpPr bwMode="auto">
          <a:xfrm>
            <a:off x="7890974" y="4214129"/>
            <a:ext cx="324000" cy="324000"/>
            <a:chOff x="6525820" y="2527453"/>
            <a:chExt cx="306910" cy="306910"/>
          </a:xfrm>
        </p:grpSpPr>
        <p:sp>
          <p:nvSpPr>
            <p:cNvPr id="25" name="Oval 16"/>
            <p:cNvSpPr>
              <a:spLocks noChangeArrowheads="1"/>
            </p:cNvSpPr>
            <p:nvPr/>
          </p:nvSpPr>
          <p:spPr bwMode="auto">
            <a:xfrm>
              <a:off x="6525820" y="2527453"/>
              <a:ext cx="306910" cy="306910"/>
            </a:xfrm>
            <a:prstGeom prst="ellipse">
              <a:avLst/>
            </a:prstGeom>
            <a:solidFill>
              <a:srgbClr val="F6F42E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595959"/>
                </a:solidFill>
                <a:latin typeface="PT Sans Caption"/>
                <a:cs typeface="+mn-cs"/>
              </a:endParaRPr>
            </a:p>
          </p:txBody>
        </p:sp>
        <p:sp>
          <p:nvSpPr>
            <p:cNvPr id="26" name="Freeform 17"/>
            <p:cNvSpPr>
              <a:spLocks/>
            </p:cNvSpPr>
            <p:nvPr/>
          </p:nvSpPr>
          <p:spPr bwMode="auto">
            <a:xfrm>
              <a:off x="6603030" y="2606594"/>
              <a:ext cx="152490" cy="146699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595959"/>
                </a:solidFill>
                <a:latin typeface="PT Sans Caption"/>
                <a:cs typeface="+mn-cs"/>
              </a:endParaRPr>
            </a:p>
          </p:txBody>
        </p:sp>
      </p:grpSp>
      <p:grpSp>
        <p:nvGrpSpPr>
          <p:cNvPr id="27" name="Группа 50"/>
          <p:cNvGrpSpPr>
            <a:grpSpLocks noChangeAspect="1"/>
          </p:cNvGrpSpPr>
          <p:nvPr/>
        </p:nvGrpSpPr>
        <p:grpSpPr bwMode="auto">
          <a:xfrm>
            <a:off x="10262042" y="4214129"/>
            <a:ext cx="324000" cy="324000"/>
            <a:chOff x="6525820" y="2527453"/>
            <a:chExt cx="306910" cy="306910"/>
          </a:xfrm>
        </p:grpSpPr>
        <p:sp>
          <p:nvSpPr>
            <p:cNvPr id="28" name="Oval 16"/>
            <p:cNvSpPr>
              <a:spLocks noChangeArrowheads="1"/>
            </p:cNvSpPr>
            <p:nvPr/>
          </p:nvSpPr>
          <p:spPr bwMode="auto">
            <a:xfrm>
              <a:off x="6525820" y="2527453"/>
              <a:ext cx="306910" cy="306910"/>
            </a:xfrm>
            <a:prstGeom prst="ellipse">
              <a:avLst/>
            </a:prstGeom>
            <a:solidFill>
              <a:srgbClr val="F6F42E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595959"/>
                </a:solidFill>
                <a:latin typeface="PT Sans Caption"/>
                <a:cs typeface="+mn-cs"/>
              </a:endParaRPr>
            </a:p>
          </p:txBody>
        </p:sp>
        <p:sp>
          <p:nvSpPr>
            <p:cNvPr id="29" name="Freeform 17"/>
            <p:cNvSpPr>
              <a:spLocks/>
            </p:cNvSpPr>
            <p:nvPr/>
          </p:nvSpPr>
          <p:spPr bwMode="auto">
            <a:xfrm>
              <a:off x="6603030" y="2606594"/>
              <a:ext cx="152490" cy="146699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595959"/>
                </a:solidFill>
                <a:latin typeface="PT Sans Caption"/>
                <a:cs typeface="+mn-cs"/>
              </a:endParaRPr>
            </a:p>
          </p:txBody>
        </p:sp>
      </p:grpSp>
      <p:pic>
        <p:nvPicPr>
          <p:cNvPr id="30" name="Рисунок 29" descr="icon-10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163510" y="2117266"/>
            <a:ext cx="835408" cy="1663883"/>
          </a:xfrm>
          <a:prstGeom prst="rect">
            <a:avLst/>
          </a:prstGeom>
        </p:spPr>
      </p:pic>
      <p:pic>
        <p:nvPicPr>
          <p:cNvPr id="31" name="Рисунок 30" descr="icon-1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958114" y="2477386"/>
            <a:ext cx="1537270" cy="1403030"/>
          </a:xfrm>
          <a:prstGeom prst="rect">
            <a:avLst/>
          </a:prstGeom>
        </p:spPr>
      </p:pic>
      <p:pic>
        <p:nvPicPr>
          <p:cNvPr id="32" name="Рисунок 31" descr="icon-12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821225" y="2190308"/>
            <a:ext cx="1803666" cy="1733107"/>
          </a:xfrm>
          <a:prstGeom prst="rect">
            <a:avLst/>
          </a:prstGeom>
        </p:spPr>
      </p:pic>
      <p:pic>
        <p:nvPicPr>
          <p:cNvPr id="33" name="Рисунок 32" descr="icon-13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238275" y="2307265"/>
            <a:ext cx="1655428" cy="1601220"/>
          </a:xfrm>
          <a:prstGeom prst="rect">
            <a:avLst/>
          </a:prstGeom>
        </p:spPr>
      </p:pic>
      <p:pic>
        <p:nvPicPr>
          <p:cNvPr id="34" name="Рисунок 33" descr="icon-14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9665558" y="2022170"/>
            <a:ext cx="1509256" cy="188453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53" descr="G:\Реваз\Презентация Реваз\Легкая промушленность\cover-new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" y="0"/>
            <a:ext cx="12192000" cy="6876788"/>
          </a:xfrm>
          <a:prstGeom prst="rect">
            <a:avLst/>
          </a:prstGeom>
          <a:noFill/>
        </p:spPr>
      </p:pic>
      <p:sp>
        <p:nvSpPr>
          <p:cNvPr id="16" name="Rectangle 25"/>
          <p:cNvSpPr/>
          <p:nvPr/>
        </p:nvSpPr>
        <p:spPr>
          <a:xfrm>
            <a:off x="0" y="-2"/>
            <a:ext cx="12192000" cy="6876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7" name="Рисунок 16" descr="crpt-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42554" y="4866184"/>
            <a:ext cx="3821815" cy="1402805"/>
          </a:xfrm>
          <a:prstGeom prst="rect">
            <a:avLst/>
          </a:prstGeom>
        </p:spPr>
      </p:pic>
      <p:pic>
        <p:nvPicPr>
          <p:cNvPr id="18" name="Picture 80" descr="G:\Реваз\Презентация Реваз\Заставка\CZ-logo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60034" y="567771"/>
            <a:ext cx="1355123" cy="2606353"/>
          </a:xfrm>
          <a:prstGeom prst="rect">
            <a:avLst/>
          </a:prstGeom>
          <a:noFill/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0113F97A-8142-40BA-8E6E-664690AEFD51}"/>
              </a:ext>
            </a:extLst>
          </p:cNvPr>
          <p:cNvSpPr txBox="1">
            <a:spLocks/>
          </p:cNvSpPr>
          <p:nvPr/>
        </p:nvSpPr>
        <p:spPr>
          <a:xfrm>
            <a:off x="4289938" y="1892590"/>
            <a:ext cx="7086926" cy="25518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39852">
              <a:lnSpc>
                <a:spcPts val="4400"/>
              </a:lnSpc>
            </a:pPr>
            <a:r>
              <a:rPr lang="ru-RU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Спасибо!</a:t>
            </a:r>
            <a:br>
              <a:rPr lang="ru-RU" sz="3200" dirty="0">
                <a:latin typeface="PT Sans Caption" panose="020B0603020203020204" pitchFamily="34" charset="-52"/>
                <a:ea typeface="PT Sans Caption" panose="020B0603020203020204" pitchFamily="34" charset="-52"/>
              </a:rPr>
            </a:br>
            <a:br>
              <a:rPr lang="ru-RU" sz="3200" dirty="0">
                <a:latin typeface="PT Sans Caption" panose="020B0603020203020204" pitchFamily="34" charset="-52"/>
                <a:ea typeface="PT Sans Caption" panose="020B0603020203020204" pitchFamily="34" charset="-52"/>
              </a:rPr>
            </a:br>
            <a:r>
              <a:rPr lang="ru-RU" sz="2800" b="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Александр Долгиев, бизнес-аналитик департамента общего бизнес-анализа</a:t>
            </a:r>
          </a:p>
          <a:p>
            <a:pPr defTabSz="839852">
              <a:lnSpc>
                <a:spcPts val="4400"/>
              </a:lnSpc>
            </a:pPr>
            <a:r>
              <a:rPr lang="en-US" sz="1800" b="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support@crpt.ru</a:t>
            </a:r>
            <a:endParaRPr lang="ru-RU" sz="1800" b="0" dirty="0">
              <a:latin typeface="PT Sans Caption" panose="020B0603020203020204" pitchFamily="34" charset="-52"/>
              <a:ea typeface="PT Sans Caption" panose="020B0603020203020204" pitchFamily="34" charset="-52"/>
            </a:endParaRPr>
          </a:p>
          <a:p>
            <a:pPr defTabSz="839852">
              <a:lnSpc>
                <a:spcPts val="4400"/>
              </a:lnSpc>
            </a:pPr>
            <a:r>
              <a:rPr lang="ru-RU" sz="1800" b="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8 800 222 1523</a:t>
            </a:r>
          </a:p>
        </p:txBody>
      </p:sp>
    </p:spTree>
    <p:extLst>
      <p:ext uri="{BB962C8B-B14F-4D97-AF65-F5344CB8AC3E}">
        <p14:creationId xmlns:p14="http://schemas.microsoft.com/office/powerpoint/2010/main" val="2256009914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"/>
          <p:cNvSpPr/>
          <p:nvPr/>
        </p:nvSpPr>
        <p:spPr>
          <a:xfrm>
            <a:off x="1479472" y="1758219"/>
            <a:ext cx="2825196" cy="511544"/>
          </a:xfrm>
          <a:prstGeom prst="rect">
            <a:avLst/>
          </a:prstGeom>
          <a:solidFill>
            <a:srgbClr val="F6F42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graphicFrame>
        <p:nvGraphicFramePr>
          <p:cNvPr id="190" name="Object 18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30" y="10497"/>
          <a:ext cx="1583" cy="15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30" y="10497"/>
                        <a:ext cx="1583" cy="158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B7B86A0-244A-41A8-BA89-B12B5E6628C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45" y="0"/>
            <a:ext cx="162051" cy="162051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240" name="Rectangle 179"/>
          <p:cNvSpPr/>
          <p:nvPr/>
        </p:nvSpPr>
        <p:spPr>
          <a:xfrm>
            <a:off x="1669325" y="1788627"/>
            <a:ext cx="2445490" cy="43364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1205"/>
              </a:spcBef>
            </a:pPr>
            <a:r>
              <a:rPr lang="ru-RU" sz="2000" b="1" spc="50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Вступили </a:t>
            </a:r>
            <a:r>
              <a:rPr lang="ru-RU" sz="2000" b="1" spc="80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в</a:t>
            </a:r>
            <a:r>
              <a:rPr lang="ru-RU" sz="2000" b="1" spc="26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 </a:t>
            </a:r>
            <a:r>
              <a:rPr lang="ru-RU" sz="2000" b="1" spc="4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силу</a:t>
            </a:r>
            <a:endParaRPr lang="ru-RU" sz="2000" b="1" dirty="0">
              <a:latin typeface="PT Sans Caption" panose="020B0603020203020204" pitchFamily="34" charset="-52"/>
              <a:ea typeface="PT Sans Caption" panose="020B0603020203020204" pitchFamily="34" charset="-52"/>
              <a:cs typeface="Tahoma" panose="020B0604030504040204" pitchFamily="34" charset="0"/>
            </a:endParaRPr>
          </a:p>
        </p:txBody>
      </p:sp>
      <p:sp>
        <p:nvSpPr>
          <p:cNvPr id="65" name="Title 1">
            <a:extLst>
              <a:ext uri="{FF2B5EF4-FFF2-40B4-BE49-F238E27FC236}">
                <a16:creationId xmlns:a16="http://schemas.microsoft.com/office/drawing/2014/main" id="{E3D7F2A8-98B9-9B47-8E0B-9FC19F12B9B1}"/>
              </a:ext>
            </a:extLst>
          </p:cNvPr>
          <p:cNvSpPr txBox="1">
            <a:spLocks/>
          </p:cNvSpPr>
          <p:nvPr/>
        </p:nvSpPr>
        <p:spPr>
          <a:xfrm>
            <a:off x="522040" y="430248"/>
            <a:ext cx="10879446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r>
              <a:rPr lang="ru-RU" dirty="0">
                <a:latin typeface="PT Sans Caption" panose="020B0603020203020204" pitchFamily="34" charset="-52"/>
                <a:ea typeface="PT Sans Caption" panose="020B0603020203020204" pitchFamily="34" charset="-52"/>
                <a:cs typeface="Helvetica"/>
              </a:rPr>
              <a:t>Нормативная база системы маркировки</a:t>
            </a:r>
            <a:endParaRPr lang="en-US" dirty="0"/>
          </a:p>
        </p:txBody>
      </p:sp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id="{4F61C7DE-3795-4CDE-9963-A89C21C504A2}"/>
              </a:ext>
            </a:extLst>
          </p:cNvPr>
          <p:cNvSpPr/>
          <p:nvPr/>
        </p:nvSpPr>
        <p:spPr>
          <a:xfrm>
            <a:off x="1336796" y="2998889"/>
            <a:ext cx="4910699" cy="71854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2700">
              <a:spcBef>
                <a:spcPts val="114"/>
              </a:spcBef>
            </a:pPr>
            <a:r>
              <a:rPr lang="ru-RU" sz="1600" b="1" spc="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равила маркировки обувных товаров</a:t>
            </a:r>
          </a:p>
          <a:p>
            <a:pPr marL="12700">
              <a:spcBef>
                <a:spcPts val="114"/>
              </a:spcBef>
            </a:pPr>
            <a:r>
              <a:rPr lang="ru-RU" sz="1400" spc="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остановление правительства</a:t>
            </a:r>
            <a:r>
              <a:rPr lang="ru-RU" sz="1400" spc="-4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 </a:t>
            </a:r>
            <a:r>
              <a:rPr lang="ru-RU" sz="1400" spc="10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№ 860</a:t>
            </a:r>
            <a:endParaRPr lang="ru-RU" sz="1400" dirty="0"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  <a:p>
            <a:pPr marL="12700"/>
            <a:r>
              <a:rPr lang="ru-RU" sz="1400" spc="10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Calibri"/>
              </a:rPr>
              <a:t>От 5 </a:t>
            </a:r>
            <a:r>
              <a:rPr lang="ru-RU" sz="1400" spc="90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Calibri"/>
              </a:rPr>
              <a:t>июля 2019</a:t>
            </a:r>
            <a:r>
              <a:rPr lang="ru-RU" sz="1400" spc="130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Calibri"/>
              </a:rPr>
              <a:t> </a:t>
            </a:r>
            <a:r>
              <a:rPr lang="ru-RU" sz="1400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Calibri"/>
              </a:rPr>
              <a:t>года</a:t>
            </a:r>
            <a:endParaRPr lang="ru-RU" sz="1400" dirty="0">
              <a:latin typeface="PT Sans Caption" panose="020B0603020203020204" pitchFamily="34" charset="-52"/>
              <a:ea typeface="PT Sans Caption" panose="020B0603020203020204" pitchFamily="34" charset="-52"/>
              <a:cs typeface="Calibri"/>
            </a:endParaRPr>
          </a:p>
          <a:p>
            <a:endParaRPr lang="ru-RU" sz="1600" spc="15" dirty="0">
              <a:solidFill>
                <a:srgbClr val="54575E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Calibri"/>
            </a:endParaRPr>
          </a:p>
        </p:txBody>
      </p:sp>
      <p:pic>
        <p:nvPicPr>
          <p:cNvPr id="76" name="Picture 8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22040" y="1671047"/>
            <a:ext cx="671506" cy="6715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8824A269-4BE1-4E59-9BA3-7E8F3B46991F}"/>
              </a:ext>
            </a:extLst>
          </p:cNvPr>
          <p:cNvSpPr/>
          <p:nvPr/>
        </p:nvSpPr>
        <p:spPr>
          <a:xfrm>
            <a:off x="1324558" y="4093543"/>
            <a:ext cx="5419003" cy="104520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2700">
              <a:spcBef>
                <a:spcPts val="114"/>
              </a:spcBef>
            </a:pPr>
            <a:r>
              <a:rPr lang="ru-RU" sz="1600" b="1" spc="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равила маркировки товаров легкой промышленности</a:t>
            </a:r>
          </a:p>
          <a:p>
            <a:pPr marL="12700">
              <a:spcBef>
                <a:spcPts val="114"/>
              </a:spcBef>
            </a:pPr>
            <a:r>
              <a:rPr lang="ru-RU" sz="1400" spc="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остановление правительства</a:t>
            </a:r>
            <a:r>
              <a:rPr lang="ru-RU" sz="1400" spc="-4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 </a:t>
            </a:r>
            <a:r>
              <a:rPr lang="ru-RU" sz="1400" spc="10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№ 1956</a:t>
            </a:r>
            <a:endParaRPr lang="ru-RU" sz="1400" dirty="0"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  <a:p>
            <a:pPr marL="12700"/>
            <a:r>
              <a:rPr lang="ru-RU" sz="1400" spc="10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Calibri"/>
              </a:rPr>
              <a:t>От 31 декабря 2019 года</a:t>
            </a:r>
            <a:endParaRPr lang="ru-RU" sz="1400" dirty="0">
              <a:latin typeface="PT Sans Caption" panose="020B0603020203020204" pitchFamily="34" charset="-52"/>
              <a:ea typeface="PT Sans Caption" panose="020B0603020203020204" pitchFamily="34" charset="-52"/>
              <a:cs typeface="Calibri"/>
            </a:endParaRPr>
          </a:p>
          <a:p>
            <a:endParaRPr lang="ru-RU" sz="1600" spc="15" dirty="0">
              <a:solidFill>
                <a:srgbClr val="54575E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Calibri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DCFB69B8-9F5A-4C01-B47B-522F64EBB335}"/>
              </a:ext>
            </a:extLst>
          </p:cNvPr>
          <p:cNvSpPr/>
          <p:nvPr/>
        </p:nvSpPr>
        <p:spPr>
          <a:xfrm>
            <a:off x="1304897" y="5532677"/>
            <a:ext cx="4910699" cy="71854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2700">
              <a:spcBef>
                <a:spcPts val="114"/>
              </a:spcBef>
            </a:pPr>
            <a:r>
              <a:rPr lang="ru-RU" sz="1600" b="1" spc="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равила маркировки фотоаппаратов</a:t>
            </a:r>
          </a:p>
          <a:p>
            <a:pPr marL="12700">
              <a:spcBef>
                <a:spcPts val="114"/>
              </a:spcBef>
            </a:pPr>
            <a:r>
              <a:rPr lang="ru-RU" sz="1400" spc="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остановление правительства</a:t>
            </a:r>
            <a:r>
              <a:rPr lang="ru-RU" sz="1400" spc="-4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 </a:t>
            </a:r>
            <a:r>
              <a:rPr lang="ru-RU" sz="1400" spc="10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№ 1953</a:t>
            </a:r>
            <a:endParaRPr lang="ru-RU" sz="1400" dirty="0"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  <a:p>
            <a:pPr marL="12700"/>
            <a:r>
              <a:rPr lang="ru-RU" sz="1400" spc="10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Calibri"/>
              </a:rPr>
              <a:t>От 31 декабря 2019 года</a:t>
            </a:r>
            <a:endParaRPr lang="ru-RU" sz="1400" dirty="0">
              <a:latin typeface="PT Sans Caption" panose="020B0603020203020204" pitchFamily="34" charset="-52"/>
              <a:ea typeface="PT Sans Caption" panose="020B0603020203020204" pitchFamily="34" charset="-52"/>
              <a:cs typeface="Calibri"/>
            </a:endParaRPr>
          </a:p>
          <a:p>
            <a:endParaRPr lang="ru-RU" sz="1600" spc="15" dirty="0">
              <a:solidFill>
                <a:srgbClr val="54575E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Calibri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1FCBE92D-D457-4B18-BB3B-C8D91A67930F}"/>
              </a:ext>
            </a:extLst>
          </p:cNvPr>
          <p:cNvSpPr/>
          <p:nvPr/>
        </p:nvSpPr>
        <p:spPr>
          <a:xfrm>
            <a:off x="7189184" y="2988256"/>
            <a:ext cx="4910699" cy="71854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2700">
              <a:spcBef>
                <a:spcPts val="114"/>
              </a:spcBef>
            </a:pPr>
            <a:r>
              <a:rPr lang="ru-RU" sz="1600" b="1" spc="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равила маркировки парфюмерии</a:t>
            </a:r>
          </a:p>
          <a:p>
            <a:pPr marL="12700">
              <a:spcBef>
                <a:spcPts val="114"/>
              </a:spcBef>
            </a:pPr>
            <a:r>
              <a:rPr lang="ru-RU" sz="1400" spc="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остановление правительства</a:t>
            </a:r>
            <a:r>
              <a:rPr lang="ru-RU" sz="1400" spc="-4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 </a:t>
            </a:r>
            <a:r>
              <a:rPr lang="ru-RU" sz="1400" spc="10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№ 1957</a:t>
            </a:r>
            <a:endParaRPr lang="ru-RU" sz="1400" dirty="0"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  <a:p>
            <a:pPr marL="12700"/>
            <a:r>
              <a:rPr lang="ru-RU" sz="1400" spc="10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Calibri"/>
              </a:rPr>
              <a:t>От 31 декабря 2019 года</a:t>
            </a:r>
            <a:endParaRPr lang="ru-RU" sz="1400" dirty="0">
              <a:latin typeface="PT Sans Caption" panose="020B0603020203020204" pitchFamily="34" charset="-52"/>
              <a:ea typeface="PT Sans Caption" panose="020B0603020203020204" pitchFamily="34" charset="-52"/>
              <a:cs typeface="Calibri"/>
            </a:endParaRPr>
          </a:p>
          <a:p>
            <a:endParaRPr lang="ru-RU" sz="1600" spc="15" dirty="0">
              <a:solidFill>
                <a:srgbClr val="54575E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Calibri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B7BA6A0F-4939-46A3-A58F-4CA9C231D61F}"/>
              </a:ext>
            </a:extLst>
          </p:cNvPr>
          <p:cNvSpPr/>
          <p:nvPr/>
        </p:nvSpPr>
        <p:spPr>
          <a:xfrm>
            <a:off x="7174971" y="4093543"/>
            <a:ext cx="4910699" cy="71854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2700">
              <a:spcBef>
                <a:spcPts val="114"/>
              </a:spcBef>
            </a:pPr>
            <a:r>
              <a:rPr lang="ru-RU" sz="1600" b="1" spc="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равила маркировки шин и покрышек</a:t>
            </a:r>
          </a:p>
          <a:p>
            <a:pPr marL="12700">
              <a:spcBef>
                <a:spcPts val="114"/>
              </a:spcBef>
            </a:pPr>
            <a:r>
              <a:rPr lang="ru-RU" sz="1400" spc="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остановление правительства</a:t>
            </a:r>
            <a:r>
              <a:rPr lang="ru-RU" sz="1400" spc="-4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 </a:t>
            </a:r>
            <a:r>
              <a:rPr lang="ru-RU" sz="1400" spc="10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№ 1958</a:t>
            </a:r>
            <a:endParaRPr lang="ru-RU" sz="1400" dirty="0"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  <a:p>
            <a:pPr marL="12700"/>
            <a:r>
              <a:rPr lang="ru-RU" sz="1400" spc="10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Calibri"/>
              </a:rPr>
              <a:t>От 31 декабря 2019 года</a:t>
            </a:r>
            <a:endParaRPr lang="ru-RU" sz="1400" dirty="0">
              <a:latin typeface="PT Sans Caption" panose="020B0603020203020204" pitchFamily="34" charset="-52"/>
              <a:ea typeface="PT Sans Caption" panose="020B0603020203020204" pitchFamily="34" charset="-52"/>
              <a:cs typeface="Calibri"/>
            </a:endParaRPr>
          </a:p>
          <a:p>
            <a:endParaRPr lang="ru-RU" sz="1600" spc="15" dirty="0">
              <a:solidFill>
                <a:srgbClr val="54575E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Calibri"/>
            </a:endParaRPr>
          </a:p>
        </p:txBody>
      </p:sp>
      <p:pic>
        <p:nvPicPr>
          <p:cNvPr id="36" name="Picture 67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09340" y="3030434"/>
            <a:ext cx="669600" cy="66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09340" y="5434155"/>
            <a:ext cx="670824" cy="6708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" name="Picture 4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09340" y="4273304"/>
            <a:ext cx="670824" cy="6708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" name="Picture 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44127" y="3051540"/>
            <a:ext cx="669600" cy="66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" name="Picture 1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344127" y="4199850"/>
            <a:ext cx="669600" cy="66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25723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202CFE2-79FE-42FB-8946-14CA9E27BF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771" y="442525"/>
            <a:ext cx="10524228" cy="332399"/>
          </a:xfrm>
        </p:spPr>
        <p:txBody>
          <a:bodyPr/>
          <a:lstStyle/>
          <a:p>
            <a:r>
              <a:rPr lang="ru-RU" sz="2400" dirty="0">
                <a:latin typeface="PT Sans Caption" panose="020B0603020203020204" pitchFamily="34" charset="-52"/>
                <a:ea typeface="PT Sans Caption" panose="020B0603020203020204" pitchFamily="34" charset="-52"/>
                <a:cs typeface="Helvetica"/>
                <a:sym typeface="PT Sans Caption" panose="020B0603020203020204" charset="0"/>
              </a:rPr>
              <a:t>Маркировка</a:t>
            </a:r>
            <a:r>
              <a:rPr lang="ru-RU" sz="2800" dirty="0"/>
              <a:t> </a:t>
            </a:r>
            <a:r>
              <a:rPr lang="ru-RU" sz="2400" dirty="0">
                <a:latin typeface="PT Sans Caption" panose="020B0603020203020204" pitchFamily="34" charset="-52"/>
                <a:ea typeface="PT Sans Caption" panose="020B0603020203020204" pitchFamily="34" charset="-52"/>
                <a:cs typeface="Helvetica"/>
              </a:rPr>
              <a:t>уже работает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AFDEB48-F3A4-4333-B571-E2E1C58D9E7A}"/>
              </a:ext>
            </a:extLst>
          </p:cNvPr>
          <p:cNvSpPr txBox="1"/>
          <p:nvPr/>
        </p:nvSpPr>
        <p:spPr>
          <a:xfrm>
            <a:off x="1725055" y="2884015"/>
            <a:ext cx="2724370" cy="37581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600" b="1" dirty="0">
                <a:solidFill>
                  <a:srgbClr val="595959"/>
                </a:solidFill>
                <a:latin typeface="PT Sans Caption" pitchFamily="34" charset="-52"/>
              </a:rPr>
              <a:t>Лекарства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49917D65-5F51-4740-8813-CD91EA9DD29E}"/>
              </a:ext>
            </a:extLst>
          </p:cNvPr>
          <p:cNvSpPr/>
          <p:nvPr/>
        </p:nvSpPr>
        <p:spPr>
          <a:xfrm>
            <a:off x="1379437" y="3254598"/>
            <a:ext cx="437991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Blip>
                <a:blip r:embed="rId3"/>
              </a:buBlip>
            </a:pPr>
            <a:r>
              <a:rPr lang="ru-RU" sz="1600" dirty="0">
                <a:solidFill>
                  <a:srgbClr val="595959"/>
                </a:solidFill>
                <a:latin typeface="PT Sans Caption" pitchFamily="34" charset="-52"/>
              </a:rPr>
              <a:t>Более 50 тысяч участников</a:t>
            </a:r>
          </a:p>
          <a:p>
            <a:pPr marL="342900" indent="-342900">
              <a:buBlip>
                <a:blip r:embed="rId3"/>
              </a:buBlip>
            </a:pPr>
            <a:r>
              <a:rPr lang="ru-RU" sz="1600" dirty="0">
                <a:solidFill>
                  <a:srgbClr val="595959"/>
                </a:solidFill>
                <a:latin typeface="PT Sans Caption" pitchFamily="34" charset="-52"/>
              </a:rPr>
              <a:t>Выпущено более 260 млн кодов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DF491A7-4C57-4F3D-8FB4-E04756E005EE}"/>
              </a:ext>
            </a:extLst>
          </p:cNvPr>
          <p:cNvSpPr txBox="1"/>
          <p:nvPr/>
        </p:nvSpPr>
        <p:spPr>
          <a:xfrm>
            <a:off x="1703789" y="4088533"/>
            <a:ext cx="3296488" cy="37581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600" b="1" dirty="0">
                <a:solidFill>
                  <a:srgbClr val="595959"/>
                </a:solidFill>
                <a:latin typeface="PT Sans Caption" pitchFamily="34" charset="-52"/>
              </a:rPr>
              <a:t>Фотоаппараты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9BE86EEA-D7A9-4F33-9EEE-91FAA7B54791}"/>
              </a:ext>
            </a:extLst>
          </p:cNvPr>
          <p:cNvSpPr/>
          <p:nvPr/>
        </p:nvSpPr>
        <p:spPr>
          <a:xfrm>
            <a:off x="1379437" y="4474129"/>
            <a:ext cx="437991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Blip>
                <a:blip r:embed="rId3"/>
              </a:buBlip>
            </a:pPr>
            <a:r>
              <a:rPr lang="ru-RU" sz="1600" dirty="0">
                <a:solidFill>
                  <a:srgbClr val="595959"/>
                </a:solidFill>
                <a:latin typeface="PT Sans Caption" pitchFamily="34" charset="-52"/>
              </a:rPr>
              <a:t>Более 200 участников</a:t>
            </a:r>
          </a:p>
          <a:p>
            <a:pPr marL="342900" indent="-342900">
              <a:buBlip>
                <a:blip r:embed="rId3"/>
              </a:buBlip>
            </a:pPr>
            <a:r>
              <a:rPr lang="ru-RU" sz="1600" dirty="0">
                <a:solidFill>
                  <a:srgbClr val="595959"/>
                </a:solidFill>
                <a:latin typeface="PT Sans Caption" pitchFamily="34" charset="-52"/>
              </a:rPr>
              <a:t>Выпущено более 227 кодов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D59E1E95-5F7B-4653-9EDB-F7FACC584331}"/>
              </a:ext>
            </a:extLst>
          </p:cNvPr>
          <p:cNvSpPr/>
          <p:nvPr/>
        </p:nvSpPr>
        <p:spPr>
          <a:xfrm>
            <a:off x="1379438" y="1944461"/>
            <a:ext cx="437991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Blip>
                <a:blip r:embed="rId3"/>
              </a:buBlip>
            </a:pPr>
            <a:r>
              <a:rPr lang="ru-RU" sz="1600" dirty="0">
                <a:solidFill>
                  <a:srgbClr val="595959"/>
                </a:solidFill>
                <a:latin typeface="PT Sans Caption" pitchFamily="34" charset="-52"/>
              </a:rPr>
              <a:t>Более 53 тысяч участников</a:t>
            </a:r>
          </a:p>
          <a:p>
            <a:pPr marL="342900" indent="-342900">
              <a:buBlip>
                <a:blip r:embed="rId3"/>
              </a:buBlip>
            </a:pPr>
            <a:r>
              <a:rPr lang="ru-RU" sz="1600" dirty="0">
                <a:solidFill>
                  <a:srgbClr val="595959"/>
                </a:solidFill>
                <a:latin typeface="PT Sans Caption" pitchFamily="34" charset="-52"/>
              </a:rPr>
              <a:t>Выпущено более 7 млрд кодов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0C744D6-9011-42F1-A261-B28C6DF18DAF}"/>
              </a:ext>
            </a:extLst>
          </p:cNvPr>
          <p:cNvSpPr txBox="1"/>
          <p:nvPr/>
        </p:nvSpPr>
        <p:spPr>
          <a:xfrm>
            <a:off x="1709625" y="1572530"/>
            <a:ext cx="3296488" cy="34165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600" b="1" dirty="0">
                <a:solidFill>
                  <a:srgbClr val="595959"/>
                </a:solidFill>
                <a:latin typeface="PT Sans Caption" pitchFamily="34" charset="-52"/>
              </a:rPr>
              <a:t>Табак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26B7EB60-E5B3-4320-8D7C-41B418BDB32A}"/>
              </a:ext>
            </a:extLst>
          </p:cNvPr>
          <p:cNvSpPr/>
          <p:nvPr/>
        </p:nvSpPr>
        <p:spPr>
          <a:xfrm>
            <a:off x="1379437" y="5778941"/>
            <a:ext cx="437991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Blip>
                <a:blip r:embed="rId3"/>
              </a:buBlip>
            </a:pPr>
            <a:r>
              <a:rPr lang="ru-RU" sz="1600" dirty="0">
                <a:solidFill>
                  <a:srgbClr val="595959"/>
                </a:solidFill>
                <a:latin typeface="PT Sans Caption" pitchFamily="34" charset="-52"/>
              </a:rPr>
              <a:t>Более 1 000 участников</a:t>
            </a:r>
          </a:p>
          <a:p>
            <a:pPr marL="342900" indent="-342900">
              <a:buBlip>
                <a:blip r:embed="rId3"/>
              </a:buBlip>
            </a:pPr>
            <a:r>
              <a:rPr lang="ru-RU" sz="1600" dirty="0">
                <a:solidFill>
                  <a:srgbClr val="595959"/>
                </a:solidFill>
                <a:latin typeface="PT Sans Caption" pitchFamily="34" charset="-52"/>
              </a:rPr>
              <a:t>Выпущено более 850 тыс. кодов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543F002-A9F8-4F32-9A2A-779C2A963718}"/>
              </a:ext>
            </a:extLst>
          </p:cNvPr>
          <p:cNvSpPr txBox="1"/>
          <p:nvPr/>
        </p:nvSpPr>
        <p:spPr>
          <a:xfrm>
            <a:off x="1725362" y="5393900"/>
            <a:ext cx="3296488" cy="37581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600" b="1" dirty="0">
                <a:solidFill>
                  <a:srgbClr val="595959"/>
                </a:solidFill>
                <a:latin typeface="PT Sans Caption" pitchFamily="34" charset="-52"/>
              </a:rPr>
              <a:t>Духи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566B3C80-33BB-4C42-BF09-0BE4220DFED4}"/>
              </a:ext>
            </a:extLst>
          </p:cNvPr>
          <p:cNvSpPr/>
          <p:nvPr/>
        </p:nvSpPr>
        <p:spPr>
          <a:xfrm>
            <a:off x="7267355" y="3219092"/>
            <a:ext cx="492464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Blip>
                <a:blip r:embed="rId3"/>
              </a:buBlip>
            </a:pPr>
            <a:r>
              <a:rPr lang="ru-RU" sz="1600" dirty="0">
                <a:solidFill>
                  <a:srgbClr val="595959"/>
                </a:solidFill>
                <a:latin typeface="PT Sans Caption" pitchFamily="34" charset="-52"/>
              </a:rPr>
              <a:t>Более 7,5 тыс. участников</a:t>
            </a:r>
          </a:p>
          <a:p>
            <a:pPr marL="342900" indent="-342900">
              <a:buBlip>
                <a:blip r:embed="rId3"/>
              </a:buBlip>
            </a:pPr>
            <a:r>
              <a:rPr lang="ru-RU" sz="1600" dirty="0">
                <a:solidFill>
                  <a:srgbClr val="595959"/>
                </a:solidFill>
                <a:latin typeface="PT Sans Caption" pitchFamily="34" charset="-52"/>
              </a:rPr>
              <a:t>Выпущено более 500 тыс. кодов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300B858-7DA4-4B87-AC75-D55DBE5585DE}"/>
              </a:ext>
            </a:extLst>
          </p:cNvPr>
          <p:cNvSpPr txBox="1"/>
          <p:nvPr/>
        </p:nvSpPr>
        <p:spPr>
          <a:xfrm>
            <a:off x="7622037" y="2863537"/>
            <a:ext cx="3296488" cy="34165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600" b="1" dirty="0">
                <a:solidFill>
                  <a:srgbClr val="595959"/>
                </a:solidFill>
                <a:latin typeface="PT Sans Caption" pitchFamily="34" charset="-52"/>
              </a:rPr>
              <a:t>Легпром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7D187CEA-4DD9-4197-9840-FBD7F59871C5}"/>
              </a:ext>
            </a:extLst>
          </p:cNvPr>
          <p:cNvSpPr/>
          <p:nvPr/>
        </p:nvSpPr>
        <p:spPr>
          <a:xfrm>
            <a:off x="7298317" y="4476441"/>
            <a:ext cx="489368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Blip>
                <a:blip r:embed="rId3"/>
              </a:buBlip>
            </a:pPr>
            <a:r>
              <a:rPr lang="ru-RU" sz="1600" dirty="0">
                <a:solidFill>
                  <a:srgbClr val="595959"/>
                </a:solidFill>
                <a:latin typeface="PT Sans Caption" pitchFamily="34" charset="-52"/>
              </a:rPr>
              <a:t>Более 1 000 участников</a:t>
            </a:r>
          </a:p>
          <a:p>
            <a:pPr marL="342900" indent="-342900">
              <a:buBlip>
                <a:blip r:embed="rId3"/>
              </a:buBlip>
            </a:pPr>
            <a:r>
              <a:rPr lang="ru-RU" sz="1600" dirty="0">
                <a:solidFill>
                  <a:srgbClr val="595959"/>
                </a:solidFill>
                <a:latin typeface="PT Sans Caption" pitchFamily="34" charset="-52"/>
              </a:rPr>
              <a:t>Выпущено более 10 тыс. кодов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30E81E5-26AB-40A8-B596-B8B251CD758F}"/>
              </a:ext>
            </a:extLst>
          </p:cNvPr>
          <p:cNvSpPr txBox="1"/>
          <p:nvPr/>
        </p:nvSpPr>
        <p:spPr>
          <a:xfrm>
            <a:off x="7622037" y="4119935"/>
            <a:ext cx="3296488" cy="37581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600" b="1" dirty="0">
                <a:solidFill>
                  <a:srgbClr val="595959"/>
                </a:solidFill>
                <a:latin typeface="PT Sans Caption" pitchFamily="34" charset="-52"/>
              </a:rPr>
              <a:t>Шины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7BE6CCEC-3C91-4FD4-AA9E-8085AAB62302}"/>
              </a:ext>
            </a:extLst>
          </p:cNvPr>
          <p:cNvSpPr/>
          <p:nvPr/>
        </p:nvSpPr>
        <p:spPr>
          <a:xfrm>
            <a:off x="7298317" y="1923916"/>
            <a:ext cx="489368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0032" indent="-350032">
              <a:buBlip>
                <a:blip r:embed="rId3"/>
              </a:buBlip>
            </a:pPr>
            <a:r>
              <a:rPr lang="ru-RU" sz="1600" dirty="0">
                <a:solidFill>
                  <a:srgbClr val="595959"/>
                </a:solidFill>
                <a:latin typeface="PT Sans Caption" pitchFamily="34" charset="-52"/>
              </a:rPr>
              <a:t>Более 18 тысяч участников </a:t>
            </a:r>
          </a:p>
          <a:p>
            <a:pPr marL="350032" indent="-350032">
              <a:buBlip>
                <a:blip r:embed="rId3"/>
              </a:buBlip>
            </a:pPr>
            <a:r>
              <a:rPr lang="ru-RU" sz="1600" dirty="0">
                <a:solidFill>
                  <a:srgbClr val="595959"/>
                </a:solidFill>
                <a:latin typeface="PT Sans Caption" pitchFamily="34" charset="-52"/>
              </a:rPr>
              <a:t>Выпущено более 250 млн кодов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34E773B-6138-4856-AF3F-7803537AB654}"/>
              </a:ext>
            </a:extLst>
          </p:cNvPr>
          <p:cNvSpPr txBox="1"/>
          <p:nvPr/>
        </p:nvSpPr>
        <p:spPr>
          <a:xfrm>
            <a:off x="7622037" y="1563192"/>
            <a:ext cx="3296488" cy="34165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600" b="1" dirty="0">
                <a:solidFill>
                  <a:srgbClr val="595959"/>
                </a:solidFill>
                <a:latin typeface="PT Sans Caption" pitchFamily="34" charset="-52"/>
              </a:rPr>
              <a:t>Обувь</a:t>
            </a:r>
          </a:p>
        </p:txBody>
      </p:sp>
      <p:cxnSp>
        <p:nvCxnSpPr>
          <p:cNvPr id="32" name="Straight Connector 153"/>
          <p:cNvCxnSpPr/>
          <p:nvPr/>
        </p:nvCxnSpPr>
        <p:spPr>
          <a:xfrm>
            <a:off x="553169" y="2722159"/>
            <a:ext cx="5043637" cy="0"/>
          </a:xfrm>
          <a:prstGeom prst="line">
            <a:avLst/>
          </a:prstGeom>
          <a:noFill/>
          <a:ln w="9525" cap="rnd" cmpd="sng" algn="ctr">
            <a:solidFill>
              <a:srgbClr val="000000">
                <a:lumMod val="60000"/>
                <a:lumOff val="40000"/>
              </a:srgbClr>
            </a:solidFill>
            <a:prstDash val="sysDot"/>
            <a:round/>
          </a:ln>
          <a:effectLst/>
        </p:spPr>
      </p:cxnSp>
      <p:cxnSp>
        <p:nvCxnSpPr>
          <p:cNvPr id="33" name="Straight Connector 153"/>
          <p:cNvCxnSpPr/>
          <p:nvPr/>
        </p:nvCxnSpPr>
        <p:spPr>
          <a:xfrm>
            <a:off x="553169" y="3977753"/>
            <a:ext cx="5043637" cy="0"/>
          </a:xfrm>
          <a:prstGeom prst="line">
            <a:avLst/>
          </a:prstGeom>
          <a:noFill/>
          <a:ln w="9525" cap="rnd" cmpd="sng" algn="ctr">
            <a:solidFill>
              <a:srgbClr val="000000">
                <a:lumMod val="60000"/>
                <a:lumOff val="40000"/>
              </a:srgbClr>
            </a:solidFill>
            <a:prstDash val="sysDot"/>
            <a:round/>
          </a:ln>
          <a:effectLst/>
        </p:spPr>
      </p:cxnSp>
      <p:cxnSp>
        <p:nvCxnSpPr>
          <p:cNvPr id="34" name="Straight Connector 153"/>
          <p:cNvCxnSpPr/>
          <p:nvPr/>
        </p:nvCxnSpPr>
        <p:spPr>
          <a:xfrm>
            <a:off x="553169" y="5274290"/>
            <a:ext cx="5043637" cy="0"/>
          </a:xfrm>
          <a:prstGeom prst="line">
            <a:avLst/>
          </a:prstGeom>
          <a:noFill/>
          <a:ln w="9525" cap="rnd" cmpd="sng" algn="ctr">
            <a:solidFill>
              <a:srgbClr val="000000">
                <a:lumMod val="60000"/>
                <a:lumOff val="40000"/>
              </a:srgbClr>
            </a:solidFill>
            <a:prstDash val="sysDot"/>
            <a:round/>
          </a:ln>
          <a:effectLst/>
        </p:spPr>
      </p:cxnSp>
      <p:cxnSp>
        <p:nvCxnSpPr>
          <p:cNvPr id="35" name="Straight Connector 153"/>
          <p:cNvCxnSpPr/>
          <p:nvPr/>
        </p:nvCxnSpPr>
        <p:spPr>
          <a:xfrm>
            <a:off x="6442141" y="2722159"/>
            <a:ext cx="5248429" cy="0"/>
          </a:xfrm>
          <a:prstGeom prst="line">
            <a:avLst/>
          </a:prstGeom>
          <a:noFill/>
          <a:ln w="9525" cap="rnd" cmpd="sng" algn="ctr">
            <a:solidFill>
              <a:srgbClr val="000000">
                <a:lumMod val="60000"/>
                <a:lumOff val="40000"/>
              </a:srgbClr>
            </a:solidFill>
            <a:prstDash val="sysDot"/>
            <a:round/>
          </a:ln>
          <a:effectLst/>
        </p:spPr>
      </p:cxnSp>
      <p:cxnSp>
        <p:nvCxnSpPr>
          <p:cNvPr id="36" name="Straight Connector 153"/>
          <p:cNvCxnSpPr/>
          <p:nvPr/>
        </p:nvCxnSpPr>
        <p:spPr>
          <a:xfrm>
            <a:off x="6442141" y="3977753"/>
            <a:ext cx="5248429" cy="0"/>
          </a:xfrm>
          <a:prstGeom prst="line">
            <a:avLst/>
          </a:prstGeom>
          <a:noFill/>
          <a:ln w="9525" cap="rnd" cmpd="sng" algn="ctr">
            <a:solidFill>
              <a:srgbClr val="000000">
                <a:lumMod val="60000"/>
                <a:lumOff val="40000"/>
              </a:srgbClr>
            </a:solidFill>
            <a:prstDash val="sysDot"/>
            <a:round/>
          </a:ln>
          <a:effectLst/>
        </p:spPr>
      </p:cxnSp>
      <p:pic>
        <p:nvPicPr>
          <p:cNvPr id="43" name="Picture 6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8138" y="3012766"/>
            <a:ext cx="670824" cy="6708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Picture 6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6278" y="1693961"/>
            <a:ext cx="654545" cy="654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" name="Picture 6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452940" y="1722615"/>
            <a:ext cx="669600" cy="66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38138" y="4275201"/>
            <a:ext cx="670824" cy="6708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452328" y="3008024"/>
            <a:ext cx="670824" cy="6708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" name="Picture 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38750" y="5528919"/>
            <a:ext cx="669600" cy="66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225" name="Picture 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452940" y="4253014"/>
            <a:ext cx="669600" cy="66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07118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AFCB3B52-1DEC-4006-AF31-033E74C9226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7466" y="1621"/>
          <a:ext cx="1621" cy="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66" y="1621"/>
                        <a:ext cx="1621" cy="162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7BD063C1-0254-4038-BBAB-D5E42DD296D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5845" y="0"/>
            <a:ext cx="162051" cy="162051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3D7F2A8-98B9-9B47-8E0B-9FC19F12B9B1}"/>
              </a:ext>
            </a:extLst>
          </p:cNvPr>
          <p:cNvSpPr txBox="1">
            <a:spLocks/>
          </p:cNvSpPr>
          <p:nvPr/>
        </p:nvSpPr>
        <p:spPr>
          <a:xfrm>
            <a:off x="607104" y="430248"/>
            <a:ext cx="10879446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defTabSz="931016"/>
            <a:r>
              <a:rPr lang="ru-RU" dirty="0"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Этапы внедрения обязательной маркировки обуви</a:t>
            </a:r>
            <a:endParaRPr lang="bg-BG" dirty="0">
              <a:latin typeface="PT Sans Caption" panose="020B0603020203020204" pitchFamily="34" charset="-52"/>
              <a:ea typeface="PT Sans Caption" panose="020B0603020203020204" pitchFamily="34" charset="-52"/>
              <a:cs typeface="Tahoma" panose="020B060403050404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4F61C7DE-3795-4CDE-9963-A89C21C504A2}"/>
              </a:ext>
            </a:extLst>
          </p:cNvPr>
          <p:cNvSpPr/>
          <p:nvPr/>
        </p:nvSpPr>
        <p:spPr>
          <a:xfrm>
            <a:off x="784473" y="5006869"/>
            <a:ext cx="2135302" cy="57028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  <a:t>Регистрация</a:t>
            </a:r>
          </a:p>
          <a:p>
            <a:pPr algn="ctr"/>
            <a: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  <a:t>участников</a:t>
            </a:r>
            <a:endParaRPr lang="en-US" sz="1200" dirty="0">
              <a:solidFill>
                <a:srgbClr val="595959"/>
              </a:solidFill>
              <a:latin typeface="PT Sans Caption" pitchFamily="34" charset="-52"/>
            </a:endParaRPr>
          </a:p>
        </p:txBody>
      </p:sp>
      <p:sp>
        <p:nvSpPr>
          <p:cNvPr id="18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1132087" y="4573844"/>
            <a:ext cx="1440074" cy="24622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 defTabSz="1215253"/>
            <a:r>
              <a:rPr lang="ru-RU" sz="1600" dirty="0">
                <a:solidFill>
                  <a:srgbClr val="595959"/>
                </a:solidFill>
                <a:latin typeface="PT Sans Caption" pitchFamily="34" charset="-52"/>
              </a:rPr>
              <a:t>с 1 июля 2019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4F61C7DE-3795-4CDE-9963-A89C21C504A2}"/>
              </a:ext>
            </a:extLst>
          </p:cNvPr>
          <p:cNvSpPr/>
          <p:nvPr/>
        </p:nvSpPr>
        <p:spPr>
          <a:xfrm>
            <a:off x="2956424" y="5006869"/>
            <a:ext cx="2969711" cy="107385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  <a:t>Выдача ПАК участникам оборота </a:t>
            </a:r>
          </a:p>
          <a:p>
            <a:pPr algn="ctr"/>
            <a: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  <a:t>Добровольная передача сведений о маркировке обувных товаров </a:t>
            </a:r>
          </a:p>
          <a:p>
            <a:pPr algn="ctr"/>
            <a: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  <a:t>и обороте</a:t>
            </a:r>
            <a:endParaRPr lang="en-US" sz="1200" dirty="0">
              <a:solidFill>
                <a:srgbClr val="595959"/>
              </a:solidFill>
              <a:latin typeface="PT Sans Caption" pitchFamily="34" charset="-52"/>
            </a:endParaRPr>
          </a:p>
        </p:txBody>
      </p:sp>
      <p:sp>
        <p:nvSpPr>
          <p:cNvPr id="27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3576683" y="4573844"/>
            <a:ext cx="1729192" cy="24622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 defTabSz="1215253"/>
            <a:r>
              <a:rPr lang="ru-RU" sz="1600" dirty="0">
                <a:solidFill>
                  <a:srgbClr val="595959"/>
                </a:solidFill>
                <a:latin typeface="PT Sans Caption" pitchFamily="34" charset="-52"/>
              </a:rPr>
              <a:t>с 1 октября 2019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4F61C7DE-3795-4CDE-9963-A89C21C504A2}"/>
              </a:ext>
            </a:extLst>
          </p:cNvPr>
          <p:cNvSpPr/>
          <p:nvPr/>
        </p:nvSpPr>
        <p:spPr>
          <a:xfrm>
            <a:off x="6073563" y="5006869"/>
            <a:ext cx="2434856" cy="97682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  <a:t>Запрещен оборот немаркированных </a:t>
            </a:r>
          </a:p>
          <a:p>
            <a:pPr algn="ctr"/>
            <a: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  <a:t>обувных товаров</a:t>
            </a:r>
            <a:endParaRPr lang="en-US" sz="1200" dirty="0">
              <a:solidFill>
                <a:srgbClr val="595959"/>
              </a:solidFill>
              <a:latin typeface="PT Sans Caption" pitchFamily="34" charset="-52"/>
            </a:endParaRPr>
          </a:p>
        </p:txBody>
      </p:sp>
      <p:sp>
        <p:nvSpPr>
          <p:cNvPr id="29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6533412" y="4573844"/>
            <a:ext cx="1515158" cy="24622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 defTabSz="1215253"/>
            <a:r>
              <a:rPr lang="ru-RU" sz="1600" dirty="0">
                <a:solidFill>
                  <a:srgbClr val="595959"/>
                </a:solidFill>
                <a:latin typeface="PT Sans Caption" pitchFamily="34" charset="-52"/>
              </a:rPr>
              <a:t>с 1 марта 2020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4F61C7DE-3795-4CDE-9963-A89C21C504A2}"/>
              </a:ext>
            </a:extLst>
          </p:cNvPr>
          <p:cNvSpPr/>
          <p:nvPr/>
        </p:nvSpPr>
        <p:spPr>
          <a:xfrm>
            <a:off x="8931057" y="5006869"/>
            <a:ext cx="2434856" cy="97682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  <a:t>Маркировка остатков, приобретенных </a:t>
            </a:r>
            <a:b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</a:br>
            <a: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  <a:t>до 1 марта 2020 года, </a:t>
            </a:r>
            <a:b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</a:br>
            <a: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  <a:t>но полученных после </a:t>
            </a:r>
          </a:p>
          <a:p>
            <a:pPr algn="ctr"/>
            <a: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  <a:t>1 марта 2020 года</a:t>
            </a:r>
            <a:endParaRPr lang="en-US" sz="1200" dirty="0">
              <a:solidFill>
                <a:srgbClr val="595959"/>
              </a:solidFill>
              <a:latin typeface="PT Sans Caption" pitchFamily="34" charset="-52"/>
            </a:endParaRPr>
          </a:p>
        </p:txBody>
      </p:sp>
      <p:sp>
        <p:nvSpPr>
          <p:cNvPr id="31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9261768" y="4573844"/>
            <a:ext cx="1773434" cy="24622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 defTabSz="1215253"/>
            <a:r>
              <a:rPr lang="ru-RU" sz="1600" dirty="0">
                <a:solidFill>
                  <a:srgbClr val="595959"/>
                </a:solidFill>
                <a:latin typeface="PT Sans Caption" pitchFamily="34" charset="-52"/>
              </a:rPr>
              <a:t>до 1 апреля 2020</a:t>
            </a:r>
          </a:p>
        </p:txBody>
      </p:sp>
      <p:pic>
        <p:nvPicPr>
          <p:cNvPr id="20" name="Рисунок 19" descr="Маркировка обуви новая правки -7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1007815" y="1692082"/>
            <a:ext cx="1575719" cy="2125001"/>
          </a:xfrm>
          <a:prstGeom prst="rect">
            <a:avLst/>
          </a:prstGeom>
        </p:spPr>
      </p:pic>
      <p:cxnSp>
        <p:nvCxnSpPr>
          <p:cNvPr id="21" name="Straight Connector 26">
            <a:extLst>
              <a:ext uri="{FF2B5EF4-FFF2-40B4-BE49-F238E27FC236}">
                <a16:creationId xmlns:a16="http://schemas.microsoft.com/office/drawing/2014/main" id="{46A05292-30AA-944A-B13B-9158E7DF1A5E}"/>
              </a:ext>
            </a:extLst>
          </p:cNvPr>
          <p:cNvCxnSpPr/>
          <p:nvPr/>
        </p:nvCxnSpPr>
        <p:spPr>
          <a:xfrm rot="5400000" flipH="1">
            <a:off x="6081421" y="-1909442"/>
            <a:ext cx="11030" cy="12168000"/>
          </a:xfrm>
          <a:prstGeom prst="line">
            <a:avLst/>
          </a:prstGeom>
          <a:ln w="25400" cap="rnd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Овал 21"/>
          <p:cNvSpPr/>
          <p:nvPr/>
        </p:nvSpPr>
        <p:spPr>
          <a:xfrm>
            <a:off x="1711463" y="4030362"/>
            <a:ext cx="252248" cy="252248"/>
          </a:xfrm>
          <a:prstGeom prst="ellipse">
            <a:avLst/>
          </a:prstGeom>
          <a:solidFill>
            <a:schemeClr val="bg1"/>
          </a:solidFill>
          <a:ln w="19050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23" name="Овал 22"/>
          <p:cNvSpPr/>
          <p:nvPr/>
        </p:nvSpPr>
        <p:spPr>
          <a:xfrm>
            <a:off x="4300092" y="4035622"/>
            <a:ext cx="252248" cy="252248"/>
          </a:xfrm>
          <a:prstGeom prst="ellipse">
            <a:avLst/>
          </a:prstGeom>
          <a:solidFill>
            <a:schemeClr val="bg1"/>
          </a:solidFill>
          <a:ln w="19050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24" name="Овал 23"/>
          <p:cNvSpPr/>
          <p:nvPr/>
        </p:nvSpPr>
        <p:spPr>
          <a:xfrm>
            <a:off x="7159919" y="4035622"/>
            <a:ext cx="252248" cy="252248"/>
          </a:xfrm>
          <a:prstGeom prst="ellipse">
            <a:avLst/>
          </a:prstGeom>
          <a:solidFill>
            <a:schemeClr val="bg1"/>
          </a:solidFill>
          <a:ln w="19050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25" name="Овал 24"/>
          <p:cNvSpPr/>
          <p:nvPr/>
        </p:nvSpPr>
        <p:spPr>
          <a:xfrm>
            <a:off x="10013389" y="4040882"/>
            <a:ext cx="252248" cy="252248"/>
          </a:xfrm>
          <a:prstGeom prst="ellipse">
            <a:avLst/>
          </a:prstGeom>
          <a:solidFill>
            <a:schemeClr val="bg1"/>
          </a:solidFill>
          <a:ln w="19050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  <p:pic>
        <p:nvPicPr>
          <p:cNvPr id="32" name="Рисунок 31" descr="Маркировка обуви новая правки -2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3507921" y="1965904"/>
            <a:ext cx="1829620" cy="1883082"/>
          </a:xfrm>
          <a:prstGeom prst="rect">
            <a:avLst/>
          </a:prstGeom>
        </p:spPr>
      </p:pic>
      <p:pic>
        <p:nvPicPr>
          <p:cNvPr id="33" name="Рисунок 32" descr="Маркировка обуви новая правки -3.jp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6152963" y="1743740"/>
            <a:ext cx="2218390" cy="2147778"/>
          </a:xfrm>
          <a:prstGeom prst="rect">
            <a:avLst/>
          </a:prstGeom>
        </p:spPr>
      </p:pic>
      <p:pic>
        <p:nvPicPr>
          <p:cNvPr id="34" name="Рисунок 33" descr="Маркировка обуви новая правки -4.jp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9046891" y="1800437"/>
            <a:ext cx="2181092" cy="2030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833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266202" y="2612730"/>
            <a:ext cx="1299736" cy="1052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AFCB3B52-1DEC-4006-AF31-033E74C9226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7466" y="1621"/>
          <a:ext cx="1621" cy="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66" y="1621"/>
                        <a:ext cx="1621" cy="162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7BD063C1-0254-4038-BBAB-D5E42DD296D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5845" y="0"/>
            <a:ext cx="162051" cy="162051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3D7F2A8-98B9-9B47-8E0B-9FC19F12B9B1}"/>
              </a:ext>
            </a:extLst>
          </p:cNvPr>
          <p:cNvSpPr txBox="1">
            <a:spLocks/>
          </p:cNvSpPr>
          <p:nvPr/>
        </p:nvSpPr>
        <p:spPr>
          <a:xfrm>
            <a:off x="607104" y="430248"/>
            <a:ext cx="10879446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defTabSz="931016"/>
            <a:r>
              <a:rPr lang="ru-RU" dirty="0"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Этапы внедрения обязательной маркировки</a:t>
            </a:r>
            <a:endParaRPr lang="bg-BG" dirty="0">
              <a:latin typeface="PT Sans Caption" panose="020B0603020203020204" pitchFamily="34" charset="-52"/>
              <a:ea typeface="PT Sans Caption" panose="020B0603020203020204" pitchFamily="34" charset="-52"/>
              <a:cs typeface="Tahoma" panose="020B0604030504040204" pitchFamily="34" charset="0"/>
            </a:endParaRPr>
          </a:p>
        </p:txBody>
      </p:sp>
      <p:cxnSp>
        <p:nvCxnSpPr>
          <p:cNvPr id="52" name="Straight Connector 26">
            <a:extLst>
              <a:ext uri="{FF2B5EF4-FFF2-40B4-BE49-F238E27FC236}">
                <a16:creationId xmlns:a16="http://schemas.microsoft.com/office/drawing/2014/main" id="{46A05292-30AA-944A-B13B-9158E7DF1A5E}"/>
              </a:ext>
            </a:extLst>
          </p:cNvPr>
          <p:cNvCxnSpPr>
            <a:cxnSpLocks/>
          </p:cNvCxnSpPr>
          <p:nvPr/>
        </p:nvCxnSpPr>
        <p:spPr>
          <a:xfrm>
            <a:off x="8944162" y="1511792"/>
            <a:ext cx="0" cy="4968000"/>
          </a:xfrm>
          <a:prstGeom prst="line">
            <a:avLst/>
          </a:prstGeom>
          <a:ln w="25400" cap="rnd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26">
            <a:extLst>
              <a:ext uri="{FF2B5EF4-FFF2-40B4-BE49-F238E27FC236}">
                <a16:creationId xmlns:a16="http://schemas.microsoft.com/office/drawing/2014/main" id="{55913DB0-6502-4569-B3E5-345F6041D659}"/>
              </a:ext>
            </a:extLst>
          </p:cNvPr>
          <p:cNvCxnSpPr>
            <a:cxnSpLocks/>
          </p:cNvCxnSpPr>
          <p:nvPr/>
        </p:nvCxnSpPr>
        <p:spPr>
          <a:xfrm>
            <a:off x="5923166" y="1511792"/>
            <a:ext cx="0" cy="4968000"/>
          </a:xfrm>
          <a:prstGeom prst="line">
            <a:avLst/>
          </a:prstGeom>
          <a:ln w="25400" cap="rnd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26">
            <a:extLst>
              <a:ext uri="{FF2B5EF4-FFF2-40B4-BE49-F238E27FC236}">
                <a16:creationId xmlns:a16="http://schemas.microsoft.com/office/drawing/2014/main" id="{53EFBB5F-48C4-4F4B-ACAF-B8C056AC78D1}"/>
              </a:ext>
            </a:extLst>
          </p:cNvPr>
          <p:cNvCxnSpPr>
            <a:cxnSpLocks/>
          </p:cNvCxnSpPr>
          <p:nvPr/>
        </p:nvCxnSpPr>
        <p:spPr>
          <a:xfrm>
            <a:off x="2894637" y="1511792"/>
            <a:ext cx="0" cy="4968000"/>
          </a:xfrm>
          <a:prstGeom prst="line">
            <a:avLst/>
          </a:prstGeom>
          <a:ln w="25400" cap="rnd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13DE1E09-F863-4F3B-B0AE-6294F19B8CF7}"/>
              </a:ext>
            </a:extLst>
          </p:cNvPr>
          <p:cNvSpPr/>
          <p:nvPr/>
        </p:nvSpPr>
        <p:spPr>
          <a:xfrm>
            <a:off x="6145893" y="2514181"/>
            <a:ext cx="2674095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595959"/>
                </a:solidFill>
                <a:latin typeface="PT Sans Caption" pitchFamily="34" charset="-52"/>
              </a:rPr>
              <a:t>До 31 марта 2020 года </a:t>
            </a:r>
            <a: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  <a:t>участники оборота обязаны зарегистрироваться в системе маркировки</a:t>
            </a:r>
          </a:p>
          <a:p>
            <a:b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</a:br>
            <a:r>
              <a:rPr lang="ru-RU" sz="1200" b="1" dirty="0">
                <a:solidFill>
                  <a:srgbClr val="595959"/>
                </a:solidFill>
                <a:latin typeface="PT Sans Caption" pitchFamily="34" charset="-52"/>
              </a:rPr>
              <a:t>С 1 октября 2020 года </a:t>
            </a:r>
            <a: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  <a:t>начнется обязательная маркировка парфюмерной продукции, производимой и ввозимой на территорию Российской Федерации и передача сведений об обороте товаров в систему </a:t>
            </a:r>
            <a:r>
              <a:rPr lang="ru-RU" sz="1200" b="1" dirty="0">
                <a:solidFill>
                  <a:srgbClr val="595959"/>
                </a:solidFill>
                <a:latin typeface="PT Sans Caption" pitchFamily="34" charset="-52"/>
              </a:rPr>
              <a:t>Честный ЗНАК</a:t>
            </a:r>
            <a:endParaRPr lang="ru-RU" sz="1200" dirty="0">
              <a:solidFill>
                <a:srgbClr val="595959"/>
              </a:solidFill>
              <a:latin typeface="PT Sans Caption" pitchFamily="34" charset="-52"/>
            </a:endParaRPr>
          </a:p>
          <a:p>
            <a:b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</a:br>
            <a:r>
              <a:rPr lang="ru-RU" sz="1200" b="1" dirty="0">
                <a:solidFill>
                  <a:srgbClr val="595959"/>
                </a:solidFill>
                <a:latin typeface="PT Sans Caption" pitchFamily="34" charset="-52"/>
              </a:rPr>
              <a:t>До 30 сентября 2021 года </a:t>
            </a:r>
            <a: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  <a:t>разрешается реализация немаркированных товарных остатков, произведенных или ввезенных на территорию Российской Федерации до 1 октября 2020 года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33C77606-5274-4341-AEF3-5F43C9A0D6B3}"/>
              </a:ext>
            </a:extLst>
          </p:cNvPr>
          <p:cNvSpPr/>
          <p:nvPr/>
        </p:nvSpPr>
        <p:spPr>
          <a:xfrm>
            <a:off x="3189767" y="2514181"/>
            <a:ext cx="2594345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595959"/>
                </a:solidFill>
                <a:latin typeface="PT Sans Caption" pitchFamily="34" charset="-52"/>
              </a:rPr>
              <a:t>До 29 февраля 2020 года </a:t>
            </a:r>
            <a: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  <a:t>участники оборота обязаны зарегистрироваться в системе маркировки</a:t>
            </a:r>
          </a:p>
          <a:p>
            <a:b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</a:br>
            <a:r>
              <a:rPr lang="ru-RU" sz="1200" b="1" dirty="0">
                <a:solidFill>
                  <a:srgbClr val="595959"/>
                </a:solidFill>
                <a:latin typeface="PT Sans Caption" pitchFamily="34" charset="-52"/>
              </a:rPr>
              <a:t>С 1 октября 2020 года </a:t>
            </a:r>
          </a:p>
          <a:p>
            <a: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  <a:t>оборот немаркированных фототоваров будет запрещен</a:t>
            </a:r>
          </a:p>
          <a:p>
            <a:b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</a:br>
            <a:r>
              <a:rPr lang="ru-RU" sz="1200" b="1" dirty="0">
                <a:solidFill>
                  <a:srgbClr val="595959"/>
                </a:solidFill>
                <a:latin typeface="PT Sans Caption" pitchFamily="34" charset="-52"/>
              </a:rPr>
              <a:t>До 1 декабря 2020 года </a:t>
            </a:r>
          </a:p>
          <a:p>
            <a: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  <a:t>все участники оборота обязаны промаркировать товарные остатки, нереализованные до 1 октября 2020 года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C3A6DAE-FBFA-4030-8C9B-03F0C65DA107}"/>
              </a:ext>
            </a:extLst>
          </p:cNvPr>
          <p:cNvSpPr/>
          <p:nvPr/>
        </p:nvSpPr>
        <p:spPr>
          <a:xfrm>
            <a:off x="9157114" y="2514181"/>
            <a:ext cx="2768684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595959"/>
                </a:solidFill>
                <a:latin typeface="PT Sans Caption" pitchFamily="34" charset="-52"/>
              </a:rPr>
              <a:t>С 1 ноября 2020 года </a:t>
            </a:r>
            <a: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  <a:t>запрещается производство и импорт немаркированных шин, а также их продажа участниками оборота, работающими напрямую с производителями и импортерами</a:t>
            </a:r>
          </a:p>
          <a:p>
            <a:b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</a:br>
            <a:r>
              <a:rPr lang="ru-RU" sz="1200" b="1" dirty="0">
                <a:solidFill>
                  <a:srgbClr val="595959"/>
                </a:solidFill>
                <a:latin typeface="PT Sans Caption" pitchFamily="34" charset="-52"/>
              </a:rPr>
              <a:t>До 1 марта 2021 года </a:t>
            </a:r>
          </a:p>
          <a:p>
            <a: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  <a:t>все участники оборота обязаны промаркировать товарные остатки, нереализованные до 1 ноября 2020 года</a:t>
            </a:r>
          </a:p>
          <a:p>
            <a:b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</a:br>
            <a:r>
              <a:rPr lang="ru-RU" sz="1200" b="1" dirty="0">
                <a:solidFill>
                  <a:srgbClr val="595959"/>
                </a:solidFill>
                <a:latin typeface="PT Sans Caption" pitchFamily="34" charset="-52"/>
              </a:rPr>
              <a:t>С 1 марта 2021 года </a:t>
            </a:r>
          </a:p>
          <a:p>
            <a: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  <a:t>все участники оборота </a:t>
            </a:r>
          </a:p>
          <a:p>
            <a: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  <a:t>обязаны передавать сведения о приобретении, продаже и ином обороте шин в систему маркировки </a:t>
            </a:r>
            <a:r>
              <a:rPr lang="ru-RU" sz="1200" b="1" dirty="0">
                <a:solidFill>
                  <a:srgbClr val="595959"/>
                </a:solidFill>
                <a:latin typeface="PT Sans Caption" pitchFamily="34" charset="-52"/>
              </a:rPr>
              <a:t>Честный ЗНАК</a:t>
            </a:r>
            <a:b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</a:br>
            <a:endParaRPr lang="ru-RU" sz="1200" dirty="0">
              <a:solidFill>
                <a:srgbClr val="595959"/>
              </a:solidFill>
              <a:latin typeface="PT Sans Caption" pitchFamily="34" charset="-52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60781ED4-5AC8-48C5-9C31-D14BC18934AD}"/>
              </a:ext>
            </a:extLst>
          </p:cNvPr>
          <p:cNvSpPr/>
          <p:nvPr/>
        </p:nvSpPr>
        <p:spPr>
          <a:xfrm>
            <a:off x="297311" y="2514181"/>
            <a:ext cx="227576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595959"/>
                </a:solidFill>
                <a:latin typeface="PT Sans Caption" pitchFamily="34" charset="-52"/>
              </a:rPr>
              <a:t>С 1 января 2021 года </a:t>
            </a:r>
            <a: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  <a:t>оборот немаркированных товаров будет запрещен</a:t>
            </a:r>
          </a:p>
          <a:p>
            <a:b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</a:br>
            <a:r>
              <a:rPr lang="ru-RU" sz="1200" b="1" dirty="0">
                <a:solidFill>
                  <a:srgbClr val="595959"/>
                </a:solidFill>
                <a:latin typeface="PT Sans Caption" pitchFamily="34" charset="-52"/>
              </a:rPr>
              <a:t>До 1 февраля 2021 года </a:t>
            </a:r>
            <a:r>
              <a:rPr lang="ru-RU" sz="1200" dirty="0">
                <a:solidFill>
                  <a:srgbClr val="595959"/>
                </a:solidFill>
                <a:latin typeface="PT Sans Caption" pitchFamily="34" charset="-52"/>
              </a:rPr>
              <a:t>все участники оборота обязаны промаркировать товарные остатки, не реализованные до 1 января 2021 года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71205F4D-53A9-4284-A154-3A0A2F4D42DA}"/>
              </a:ext>
            </a:extLst>
          </p:cNvPr>
          <p:cNvSpPr/>
          <p:nvPr/>
        </p:nvSpPr>
        <p:spPr>
          <a:xfrm>
            <a:off x="10063678" y="1708571"/>
            <a:ext cx="84830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rgbClr val="595959"/>
                </a:solidFill>
                <a:latin typeface="PT Sans Caption" pitchFamily="34" charset="-52"/>
              </a:rPr>
              <a:t>ШИНЫ</a:t>
            </a:r>
            <a:endParaRPr lang="ru-RU" sz="1600" dirty="0">
              <a:solidFill>
                <a:srgbClr val="595959"/>
              </a:solidFill>
              <a:latin typeface="PT Sans Caption" pitchFamily="34" charset="-52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F8E95CEA-371A-4D34-ABA9-7D02FDCF55E0}"/>
              </a:ext>
            </a:extLst>
          </p:cNvPr>
          <p:cNvSpPr/>
          <p:nvPr/>
        </p:nvSpPr>
        <p:spPr>
          <a:xfrm>
            <a:off x="1299879" y="1708571"/>
            <a:ext cx="113601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rgbClr val="595959"/>
                </a:solidFill>
                <a:latin typeface="PT Sans Caption" pitchFamily="34" charset="-52"/>
              </a:rPr>
              <a:t>ЛЕГПРОМ</a:t>
            </a:r>
            <a:endParaRPr lang="ru-RU" sz="1600" dirty="0">
              <a:solidFill>
                <a:srgbClr val="595959"/>
              </a:solidFill>
              <a:latin typeface="PT Sans Caption" pitchFamily="34" charset="-52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060EF8E2-C904-40C3-99A4-080D7F37E36C}"/>
              </a:ext>
            </a:extLst>
          </p:cNvPr>
          <p:cNvSpPr/>
          <p:nvPr/>
        </p:nvSpPr>
        <p:spPr>
          <a:xfrm>
            <a:off x="7009482" y="1708571"/>
            <a:ext cx="166180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rgbClr val="595959"/>
                </a:solidFill>
                <a:latin typeface="PT Sans Caption" pitchFamily="34" charset="-52"/>
              </a:rPr>
              <a:t>ПАРФЮМЕРИЯ</a:t>
            </a:r>
            <a:endParaRPr lang="ru-RU" sz="1600" dirty="0">
              <a:solidFill>
                <a:srgbClr val="595959"/>
              </a:solidFill>
              <a:latin typeface="PT Sans Caption" pitchFamily="34" charset="-52"/>
            </a:endParaRPr>
          </a:p>
        </p:txBody>
      </p:sp>
      <p:pic>
        <p:nvPicPr>
          <p:cNvPr id="24" name="Picture 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30439" y="1535301"/>
            <a:ext cx="670824" cy="6708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169968" y="1535301"/>
            <a:ext cx="670824" cy="6708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07" name="Picture 7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239539" y="1535913"/>
            <a:ext cx="669600" cy="66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" name="Picture 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9270568" y="1535913"/>
            <a:ext cx="669600" cy="66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886553C0-9485-43F0-A72D-013081D9ECAD}"/>
              </a:ext>
            </a:extLst>
          </p:cNvPr>
          <p:cNvSpPr/>
          <p:nvPr/>
        </p:nvSpPr>
        <p:spPr>
          <a:xfrm>
            <a:off x="3937028" y="1708571"/>
            <a:ext cx="184851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rgbClr val="595959"/>
                </a:solidFill>
                <a:latin typeface="PT Sans Caption" pitchFamily="34" charset="-52"/>
              </a:rPr>
              <a:t>ФОТОАППАРАТЫ</a:t>
            </a:r>
            <a:endParaRPr lang="ru-RU" sz="1600" dirty="0">
              <a:solidFill>
                <a:srgbClr val="595959"/>
              </a:solidFill>
              <a:latin typeface="PT Sans Caption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40867219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Прямая соединительная линия 27"/>
          <p:cNvCxnSpPr/>
          <p:nvPr/>
        </p:nvCxnSpPr>
        <p:spPr>
          <a:xfrm>
            <a:off x="5971942" y="5121348"/>
            <a:ext cx="818707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5160323" y="3958855"/>
            <a:ext cx="818707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6039281" y="2849526"/>
            <a:ext cx="818707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202CFE2-79FE-42FB-8946-14CA9E27BF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569" y="406070"/>
            <a:ext cx="10524228" cy="332399"/>
          </a:xfrm>
        </p:spPr>
        <p:txBody>
          <a:bodyPr/>
          <a:lstStyle/>
          <a:p>
            <a:r>
              <a:rPr lang="ru-RU" sz="2400" dirty="0">
                <a:latin typeface="PT Sans Caption" panose="020B0603020203020204" pitchFamily="34" charset="-52"/>
                <a:ea typeface="PT Sans Caption" panose="020B0603020203020204" pitchFamily="34" charset="-52"/>
                <a:cs typeface="Helvetica"/>
              </a:rPr>
              <a:t>Текущие эксперименты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7688962" y="2863949"/>
            <a:ext cx="374826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595959"/>
                </a:solidFill>
                <a:latin typeface="PT Sans Caption" pitchFamily="34" charset="-52"/>
              </a:rPr>
              <a:t>15 июля 2019 – 29 февраля 2020</a:t>
            </a:r>
          </a:p>
        </p:txBody>
      </p:sp>
      <p:sp>
        <p:nvSpPr>
          <p:cNvPr id="66" name="Прямоугольник 65"/>
          <p:cNvSpPr/>
          <p:nvPr/>
        </p:nvSpPr>
        <p:spPr>
          <a:xfrm>
            <a:off x="7688962" y="2528102"/>
            <a:ext cx="23963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rgbClr val="595959"/>
                </a:solidFill>
                <a:latin typeface="PT Sans Caption" pitchFamily="34" charset="-52"/>
              </a:rPr>
              <a:t>Молочная продукция</a:t>
            </a:r>
          </a:p>
        </p:txBody>
      </p:sp>
      <p:sp>
        <p:nvSpPr>
          <p:cNvPr id="67" name="Прямоугольник 66"/>
          <p:cNvSpPr/>
          <p:nvPr/>
        </p:nvSpPr>
        <p:spPr>
          <a:xfrm>
            <a:off x="506208" y="3944099"/>
            <a:ext cx="377756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600" b="1" dirty="0">
                <a:solidFill>
                  <a:srgbClr val="595959"/>
                </a:solidFill>
                <a:latin typeface="PT Sans Caption" pitchFamily="34" charset="-52"/>
              </a:rPr>
              <a:t>1 сентября 2019 – 1 июля 2021</a:t>
            </a:r>
          </a:p>
        </p:txBody>
      </p:sp>
      <p:sp>
        <p:nvSpPr>
          <p:cNvPr id="68" name="Прямоугольник 67"/>
          <p:cNvSpPr/>
          <p:nvPr/>
        </p:nvSpPr>
        <p:spPr>
          <a:xfrm>
            <a:off x="1416878" y="3600079"/>
            <a:ext cx="285788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600" dirty="0">
                <a:solidFill>
                  <a:srgbClr val="595959"/>
                </a:solidFill>
                <a:latin typeface="PT Sans Caption" pitchFamily="34" charset="-52"/>
              </a:rPr>
              <a:t>Кресла-коляски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7688962" y="5133879"/>
            <a:ext cx="34776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rgbClr val="595959"/>
                </a:solidFill>
                <a:latin typeface="PT Sans Caption" pitchFamily="34" charset="-52"/>
              </a:rPr>
              <a:t>16 сентября 2019 – 31 мая 2020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7688962" y="4795767"/>
            <a:ext cx="145648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rgbClr val="595959"/>
                </a:solidFill>
                <a:latin typeface="PT Sans Caption" pitchFamily="34" charset="-52"/>
              </a:rPr>
              <a:t>Велосипеды</a:t>
            </a:r>
          </a:p>
        </p:txBody>
      </p:sp>
      <p:pic>
        <p:nvPicPr>
          <p:cNvPr id="31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36040" y="2398793"/>
            <a:ext cx="892867" cy="892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Picture 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36040" y="4670601"/>
            <a:ext cx="892800" cy="89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9" name="Straight Connector 26">
            <a:extLst>
              <a:ext uri="{FF2B5EF4-FFF2-40B4-BE49-F238E27FC236}">
                <a16:creationId xmlns:a16="http://schemas.microsoft.com/office/drawing/2014/main" id="{46A05292-30AA-944A-B13B-9158E7DF1A5E}"/>
              </a:ext>
            </a:extLst>
          </p:cNvPr>
          <p:cNvCxnSpPr/>
          <p:nvPr/>
        </p:nvCxnSpPr>
        <p:spPr>
          <a:xfrm rot="10800000" flipH="1">
            <a:off x="5991694" y="1134000"/>
            <a:ext cx="11030" cy="5724000"/>
          </a:xfrm>
          <a:prstGeom prst="line">
            <a:avLst/>
          </a:prstGeom>
          <a:ln w="25400" cap="rnd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Овал 19"/>
          <p:cNvSpPr/>
          <p:nvPr/>
        </p:nvSpPr>
        <p:spPr>
          <a:xfrm rot="5400000">
            <a:off x="5871084" y="2711972"/>
            <a:ext cx="252248" cy="252248"/>
          </a:xfrm>
          <a:prstGeom prst="ellipse">
            <a:avLst/>
          </a:prstGeom>
          <a:solidFill>
            <a:schemeClr val="bg1"/>
          </a:solidFill>
          <a:ln w="19050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21" name="Овал 20"/>
          <p:cNvSpPr/>
          <p:nvPr/>
        </p:nvSpPr>
        <p:spPr>
          <a:xfrm rot="5400000">
            <a:off x="5871084" y="5003200"/>
            <a:ext cx="252248" cy="252248"/>
          </a:xfrm>
          <a:prstGeom prst="ellipse">
            <a:avLst/>
          </a:prstGeom>
          <a:solidFill>
            <a:schemeClr val="bg1"/>
          </a:solidFill>
          <a:ln w="19050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22" name="Овал 21"/>
          <p:cNvSpPr/>
          <p:nvPr/>
        </p:nvSpPr>
        <p:spPr>
          <a:xfrm rot="5400000">
            <a:off x="5871084" y="3833640"/>
            <a:ext cx="252248" cy="252248"/>
          </a:xfrm>
          <a:prstGeom prst="ellipse">
            <a:avLst/>
          </a:prstGeom>
          <a:solidFill>
            <a:schemeClr val="bg1"/>
          </a:solidFill>
          <a:ln w="19050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  <p:pic>
        <p:nvPicPr>
          <p:cNvPr id="55297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463901" y="3519377"/>
            <a:ext cx="892800" cy="89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97538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AFCB3B52-1DEC-4006-AF31-033E74C922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66" y="1621"/>
          <a:ext cx="1621" cy="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66" y="1621"/>
                        <a:ext cx="1621" cy="162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7BD063C1-0254-4038-BBAB-D5E42DD296D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45" y="0"/>
            <a:ext cx="162051" cy="162051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3D7F2A8-98B9-9B47-8E0B-9FC19F12B9B1}"/>
              </a:ext>
            </a:extLst>
          </p:cNvPr>
          <p:cNvSpPr txBox="1">
            <a:spLocks/>
          </p:cNvSpPr>
          <p:nvPr/>
        </p:nvSpPr>
        <p:spPr>
          <a:xfrm>
            <a:off x="607104" y="430248"/>
            <a:ext cx="10879446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defTabSz="931016"/>
            <a:r>
              <a:rPr lang="ru-RU" dirty="0"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Участники оборота товаров</a:t>
            </a:r>
            <a:endParaRPr lang="bg-BG" dirty="0">
              <a:cs typeface="Helvetica"/>
            </a:endParaRPr>
          </a:p>
        </p:txBody>
      </p:sp>
      <p:cxnSp>
        <p:nvCxnSpPr>
          <p:cNvPr id="15" name="Straight Connector 26">
            <a:extLst>
              <a:ext uri="{FF2B5EF4-FFF2-40B4-BE49-F238E27FC236}">
                <a16:creationId xmlns:a16="http://schemas.microsoft.com/office/drawing/2014/main" id="{46A05292-30AA-944A-B13B-9158E7DF1A5E}"/>
              </a:ext>
            </a:extLst>
          </p:cNvPr>
          <p:cNvCxnSpPr/>
          <p:nvPr/>
        </p:nvCxnSpPr>
        <p:spPr>
          <a:xfrm rot="5400000" flipH="1">
            <a:off x="6081421" y="-2366661"/>
            <a:ext cx="11030" cy="12168000"/>
          </a:xfrm>
          <a:prstGeom prst="line">
            <a:avLst/>
          </a:prstGeom>
          <a:ln w="25400" cap="rnd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850930" y="4105493"/>
            <a:ext cx="1604863" cy="24622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/>
            <a:r>
              <a:rPr lang="ru-RU" sz="160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Производители</a:t>
            </a:r>
          </a:p>
        </p:txBody>
      </p:sp>
      <p:sp>
        <p:nvSpPr>
          <p:cNvPr id="17" name="Овал 16"/>
          <p:cNvSpPr/>
          <p:nvPr/>
        </p:nvSpPr>
        <p:spPr>
          <a:xfrm>
            <a:off x="1520069" y="3573143"/>
            <a:ext cx="252248" cy="252248"/>
          </a:xfrm>
          <a:prstGeom prst="ellipse">
            <a:avLst/>
          </a:prstGeom>
          <a:solidFill>
            <a:schemeClr val="bg1"/>
          </a:solidFill>
          <a:ln w="19050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18" name="Овал 17"/>
          <p:cNvSpPr/>
          <p:nvPr/>
        </p:nvSpPr>
        <p:spPr>
          <a:xfrm>
            <a:off x="3736543" y="3578403"/>
            <a:ext cx="252248" cy="252248"/>
          </a:xfrm>
          <a:prstGeom prst="ellipse">
            <a:avLst/>
          </a:prstGeom>
          <a:solidFill>
            <a:schemeClr val="bg1"/>
          </a:solidFill>
          <a:ln w="19050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19" name="Овал 18"/>
          <p:cNvSpPr/>
          <p:nvPr/>
        </p:nvSpPr>
        <p:spPr>
          <a:xfrm>
            <a:off x="5947757" y="3578403"/>
            <a:ext cx="252248" cy="252248"/>
          </a:xfrm>
          <a:prstGeom prst="ellipse">
            <a:avLst/>
          </a:prstGeom>
          <a:solidFill>
            <a:schemeClr val="bg1"/>
          </a:solidFill>
          <a:ln w="19050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20" name="Овал 19"/>
          <p:cNvSpPr/>
          <p:nvPr/>
        </p:nvSpPr>
        <p:spPr>
          <a:xfrm>
            <a:off x="8248311" y="3583663"/>
            <a:ext cx="252248" cy="252248"/>
          </a:xfrm>
          <a:prstGeom prst="ellipse">
            <a:avLst/>
          </a:prstGeom>
          <a:solidFill>
            <a:schemeClr val="bg1"/>
          </a:solidFill>
          <a:ln w="19050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21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3235992" y="4105493"/>
            <a:ext cx="1257844" cy="24622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/>
            <a:r>
              <a:rPr lang="ru-RU" sz="160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Импортеры </a:t>
            </a:r>
          </a:p>
        </p:txBody>
      </p:sp>
      <p:sp>
        <p:nvSpPr>
          <p:cNvPr id="22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5524958" y="4105493"/>
            <a:ext cx="1088823" cy="492443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/>
            <a:r>
              <a:rPr lang="ru-RU" sz="160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Оптовые </a:t>
            </a:r>
          </a:p>
          <a:p>
            <a:pPr algn="ctr"/>
            <a:r>
              <a:rPr lang="ru-RU" sz="160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компании </a:t>
            </a:r>
          </a:p>
        </p:txBody>
      </p:sp>
      <p:sp>
        <p:nvSpPr>
          <p:cNvPr id="23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7783039" y="4105493"/>
            <a:ext cx="1194237" cy="492443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/>
            <a:r>
              <a:rPr lang="ru-RU" sz="160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Розничные </a:t>
            </a:r>
          </a:p>
          <a:p>
            <a:pPr algn="ctr"/>
            <a:r>
              <a:rPr lang="ru-RU" sz="160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магазины</a:t>
            </a:r>
          </a:p>
        </p:txBody>
      </p:sp>
      <p:sp>
        <p:nvSpPr>
          <p:cNvPr id="24" name="Овал 23"/>
          <p:cNvSpPr/>
          <p:nvPr/>
        </p:nvSpPr>
        <p:spPr>
          <a:xfrm>
            <a:off x="10399632" y="3583663"/>
            <a:ext cx="252248" cy="252248"/>
          </a:xfrm>
          <a:prstGeom prst="ellipse">
            <a:avLst/>
          </a:prstGeom>
          <a:solidFill>
            <a:schemeClr val="bg1"/>
          </a:solidFill>
          <a:ln w="19050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9757068" y="4105493"/>
            <a:ext cx="1548822" cy="24622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/>
            <a:r>
              <a:rPr lang="ru-RU" sz="160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Комиссионеры</a:t>
            </a:r>
          </a:p>
        </p:txBody>
      </p:sp>
      <p:sp>
        <p:nvSpPr>
          <p:cNvPr id="26" name="Rectangle 7"/>
          <p:cNvSpPr/>
          <p:nvPr/>
        </p:nvSpPr>
        <p:spPr>
          <a:xfrm>
            <a:off x="1988287" y="5305648"/>
            <a:ext cx="9165265" cy="935664"/>
          </a:xfrm>
          <a:prstGeom prst="rect">
            <a:avLst/>
          </a:prstGeom>
          <a:solidFill>
            <a:srgbClr val="F6F42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sp>
        <p:nvSpPr>
          <p:cNvPr id="27" name="Rectangle 179"/>
          <p:cNvSpPr/>
          <p:nvPr/>
        </p:nvSpPr>
        <p:spPr>
          <a:xfrm>
            <a:off x="2158452" y="5366406"/>
            <a:ext cx="8899397" cy="7792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Исключения:</a:t>
            </a: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Организации приобретающие товары для использования в собственных нуждах </a:t>
            </a: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Ввоз товара, купленного за рубежом для собственных нужд, курьерские службы, Почта России. </a:t>
            </a:r>
          </a:p>
        </p:txBody>
      </p:sp>
      <p:pic>
        <p:nvPicPr>
          <p:cNvPr id="28" name="Picture 4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60007" y="5401788"/>
            <a:ext cx="6858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Рисунок 28" descr="icon-1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1059458" y="2184105"/>
            <a:ext cx="1187235" cy="1111988"/>
          </a:xfrm>
          <a:prstGeom prst="rect">
            <a:avLst/>
          </a:prstGeom>
        </p:spPr>
      </p:pic>
      <p:pic>
        <p:nvPicPr>
          <p:cNvPr id="30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467738" y="2222523"/>
            <a:ext cx="817184" cy="10416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" name="Рисунок 30" descr="icon-5.jp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7464056" y="2222204"/>
            <a:ext cx="1714932" cy="1023710"/>
          </a:xfrm>
          <a:prstGeom prst="rect">
            <a:avLst/>
          </a:prstGeom>
        </p:spPr>
      </p:pic>
      <p:pic>
        <p:nvPicPr>
          <p:cNvPr id="32" name="Рисунок 31" descr="icon-15.jp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10003214" y="1828800"/>
            <a:ext cx="990445" cy="1416028"/>
          </a:xfrm>
          <a:prstGeom prst="rect">
            <a:avLst/>
          </a:prstGeom>
        </p:spPr>
      </p:pic>
      <p:pic>
        <p:nvPicPr>
          <p:cNvPr id="33" name="Рисунок 32" descr="icon-16.jp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5225270" y="1881961"/>
            <a:ext cx="1672095" cy="1522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6871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Рисунок 27" descr="icon-17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238060" y="5011353"/>
            <a:ext cx="1779344" cy="1620000"/>
          </a:xfrm>
          <a:prstGeom prst="rect">
            <a:avLst/>
          </a:prstGeom>
        </p:spPr>
      </p:pic>
      <p:cxnSp>
        <p:nvCxnSpPr>
          <p:cNvPr id="37" name="Прямая соединительная линия 36"/>
          <p:cNvCxnSpPr/>
          <p:nvPr/>
        </p:nvCxnSpPr>
        <p:spPr>
          <a:xfrm>
            <a:off x="4607421" y="5762214"/>
            <a:ext cx="0" cy="340242"/>
          </a:xfrm>
          <a:prstGeom prst="line">
            <a:avLst/>
          </a:prstGeom>
          <a:ln w="25400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7120268" y="5762214"/>
            <a:ext cx="0" cy="340242"/>
          </a:xfrm>
          <a:prstGeom prst="line">
            <a:avLst/>
          </a:prstGeom>
          <a:ln w="25400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7"/>
          <p:cNvSpPr/>
          <p:nvPr/>
        </p:nvSpPr>
        <p:spPr>
          <a:xfrm>
            <a:off x="3848995" y="5436162"/>
            <a:ext cx="3997861" cy="411764"/>
          </a:xfrm>
          <a:prstGeom prst="rect">
            <a:avLst/>
          </a:prstGeom>
          <a:solidFill>
            <a:srgbClr val="F6F42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AFCB3B52-1DEC-4006-AF31-033E74C922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66" y="1621"/>
          <a:ext cx="1621" cy="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66" y="1621"/>
                        <a:ext cx="1621" cy="162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7BD063C1-0254-4038-BBAB-D5E42DD296D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45" y="0"/>
            <a:ext cx="162051" cy="162051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3D7F2A8-98B9-9B47-8E0B-9FC19F12B9B1}"/>
              </a:ext>
            </a:extLst>
          </p:cNvPr>
          <p:cNvSpPr txBox="1">
            <a:spLocks/>
          </p:cNvSpPr>
          <p:nvPr/>
        </p:nvSpPr>
        <p:spPr>
          <a:xfrm>
            <a:off x="607104" y="430248"/>
            <a:ext cx="10879446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defTabSz="931016"/>
            <a:r>
              <a:rPr lang="ru-RU" dirty="0"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Код маркировки</a:t>
            </a:r>
            <a:endParaRPr lang="bg-BG" dirty="0">
              <a:cs typeface="Helvetica"/>
            </a:endParaRPr>
          </a:p>
        </p:txBody>
      </p:sp>
      <p:cxnSp>
        <p:nvCxnSpPr>
          <p:cNvPr id="5" name="Straight Connector 26">
            <a:extLst>
              <a:ext uri="{FF2B5EF4-FFF2-40B4-BE49-F238E27FC236}">
                <a16:creationId xmlns:a16="http://schemas.microsoft.com/office/drawing/2014/main" id="{46A05292-30AA-944A-B13B-9158E7DF1A5E}"/>
              </a:ext>
            </a:extLst>
          </p:cNvPr>
          <p:cNvCxnSpPr/>
          <p:nvPr/>
        </p:nvCxnSpPr>
        <p:spPr>
          <a:xfrm rot="5400000" flipH="1">
            <a:off x="5614008" y="169032"/>
            <a:ext cx="11030" cy="7164000"/>
          </a:xfrm>
          <a:prstGeom prst="line">
            <a:avLst/>
          </a:prstGeom>
          <a:ln w="25400" cap="rnd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1131316" y="4362479"/>
            <a:ext cx="2143792" cy="461665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/>
            <a:r>
              <a:rPr lang="ru-RU" sz="160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Производитель</a:t>
            </a:r>
          </a:p>
          <a:p>
            <a:pPr algn="ctr"/>
            <a:r>
              <a:rPr lang="ru-RU" sz="1400" b="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(собственные средства)</a:t>
            </a:r>
          </a:p>
        </p:txBody>
      </p:sp>
      <p:sp>
        <p:nvSpPr>
          <p:cNvPr id="10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5650748" y="4362479"/>
            <a:ext cx="569067" cy="24622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/>
            <a:r>
              <a:rPr lang="ru-RU" sz="160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Заказ</a:t>
            </a:r>
          </a:p>
        </p:txBody>
      </p:sp>
      <p:sp>
        <p:nvSpPr>
          <p:cNvPr id="11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8874173" y="4362479"/>
            <a:ext cx="2146357" cy="677108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/>
            <a:r>
              <a:rPr lang="ru-RU" sz="160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Импортер </a:t>
            </a:r>
          </a:p>
          <a:p>
            <a:pPr algn="ctr"/>
            <a:r>
              <a:rPr lang="ru-RU" sz="1400" b="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(центр этикетирования </a:t>
            </a:r>
          </a:p>
          <a:p>
            <a:pPr algn="ctr"/>
            <a:r>
              <a:rPr lang="ru-RU" sz="1400" b="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и маркировки)</a:t>
            </a:r>
          </a:p>
        </p:txBody>
      </p:sp>
      <p:pic>
        <p:nvPicPr>
          <p:cNvPr id="12" name="Рисунок 11" descr="icon-1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1588041" y="3079035"/>
            <a:ext cx="1187235" cy="1111988"/>
          </a:xfrm>
          <a:prstGeom prst="rect">
            <a:avLst/>
          </a:prstGeom>
        </p:spPr>
      </p:pic>
      <p:grpSp>
        <p:nvGrpSpPr>
          <p:cNvPr id="18" name="Группа 50"/>
          <p:cNvGrpSpPr>
            <a:grpSpLocks noChangeAspect="1"/>
          </p:cNvGrpSpPr>
          <p:nvPr/>
        </p:nvGrpSpPr>
        <p:grpSpPr bwMode="auto">
          <a:xfrm>
            <a:off x="9011455" y="3581537"/>
            <a:ext cx="324000" cy="324000"/>
            <a:chOff x="6525820" y="2527453"/>
            <a:chExt cx="306910" cy="306910"/>
          </a:xfrm>
        </p:grpSpPr>
        <p:sp>
          <p:nvSpPr>
            <p:cNvPr id="19" name="Oval 16"/>
            <p:cNvSpPr>
              <a:spLocks noChangeArrowheads="1"/>
            </p:cNvSpPr>
            <p:nvPr/>
          </p:nvSpPr>
          <p:spPr bwMode="auto">
            <a:xfrm>
              <a:off x="6525820" y="2527453"/>
              <a:ext cx="306910" cy="306910"/>
            </a:xfrm>
            <a:prstGeom prst="ellipse">
              <a:avLst/>
            </a:prstGeom>
            <a:solidFill>
              <a:srgbClr val="F6F42E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595959"/>
                </a:solidFill>
                <a:latin typeface="PT Sans Caption"/>
                <a:cs typeface="+mn-cs"/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6603030" y="2606594"/>
              <a:ext cx="152490" cy="146699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595959"/>
                </a:solidFill>
                <a:latin typeface="PT Sans Caption"/>
                <a:cs typeface="+mn-cs"/>
              </a:endParaRPr>
            </a:p>
          </p:txBody>
        </p:sp>
      </p:grpSp>
      <p:grpSp>
        <p:nvGrpSpPr>
          <p:cNvPr id="21" name="Группа 50"/>
          <p:cNvGrpSpPr>
            <a:grpSpLocks noChangeAspect="1"/>
          </p:cNvGrpSpPr>
          <p:nvPr/>
        </p:nvGrpSpPr>
        <p:grpSpPr bwMode="auto">
          <a:xfrm>
            <a:off x="2748846" y="3570905"/>
            <a:ext cx="324000" cy="324000"/>
            <a:chOff x="6525820" y="2527453"/>
            <a:chExt cx="306910" cy="306910"/>
          </a:xfrm>
        </p:grpSpPr>
        <p:sp>
          <p:nvSpPr>
            <p:cNvPr id="22" name="Oval 16"/>
            <p:cNvSpPr>
              <a:spLocks noChangeArrowheads="1"/>
            </p:cNvSpPr>
            <p:nvPr/>
          </p:nvSpPr>
          <p:spPr bwMode="auto">
            <a:xfrm>
              <a:off x="6525820" y="2527453"/>
              <a:ext cx="306910" cy="306910"/>
            </a:xfrm>
            <a:prstGeom prst="ellipse">
              <a:avLst/>
            </a:prstGeom>
            <a:solidFill>
              <a:srgbClr val="F6F42E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595959"/>
                </a:solidFill>
                <a:latin typeface="PT Sans Caption"/>
                <a:cs typeface="+mn-cs"/>
              </a:endParaRPr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603030" y="2606594"/>
              <a:ext cx="152490" cy="146699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595959"/>
                </a:solidFill>
                <a:latin typeface="PT Sans Caption"/>
                <a:cs typeface="+mn-cs"/>
              </a:endParaRPr>
            </a:p>
          </p:txBody>
        </p:sp>
      </p:grpSp>
      <p:sp>
        <p:nvSpPr>
          <p:cNvPr id="24" name="Равнобедренный треугольник 23"/>
          <p:cNvSpPr/>
          <p:nvPr/>
        </p:nvSpPr>
        <p:spPr>
          <a:xfrm rot="5400000">
            <a:off x="4395071" y="3678609"/>
            <a:ext cx="108000" cy="144000"/>
          </a:xfrm>
          <a:prstGeom prst="triangle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Равнобедренный треугольник 26"/>
          <p:cNvSpPr/>
          <p:nvPr/>
        </p:nvSpPr>
        <p:spPr>
          <a:xfrm rot="16200000" flipH="1">
            <a:off x="7322586" y="3682154"/>
            <a:ext cx="108000" cy="144000"/>
          </a:xfrm>
          <a:prstGeom prst="triangle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0" name="Rectangle 179"/>
          <p:cNvSpPr/>
          <p:nvPr/>
        </p:nvSpPr>
        <p:spPr>
          <a:xfrm>
            <a:off x="3955322" y="5405679"/>
            <a:ext cx="3806477" cy="45287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никальный идентификатор товара</a:t>
            </a:r>
          </a:p>
        </p:txBody>
      </p:sp>
      <p:sp>
        <p:nvSpPr>
          <p:cNvPr id="32" name="Rectangle 7"/>
          <p:cNvSpPr/>
          <p:nvPr/>
        </p:nvSpPr>
        <p:spPr>
          <a:xfrm>
            <a:off x="3855655" y="6063470"/>
            <a:ext cx="1418101" cy="410400"/>
          </a:xfrm>
          <a:prstGeom prst="rect">
            <a:avLst/>
          </a:prstGeom>
          <a:solidFill>
            <a:srgbClr val="F6F42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sp>
        <p:nvSpPr>
          <p:cNvPr id="33" name="Rectangle 179"/>
          <p:cNvSpPr/>
          <p:nvPr/>
        </p:nvSpPr>
        <p:spPr>
          <a:xfrm>
            <a:off x="4043928" y="6079069"/>
            <a:ext cx="1070313" cy="39616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TIN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" name="Rectangle 7"/>
          <p:cNvSpPr/>
          <p:nvPr/>
        </p:nvSpPr>
        <p:spPr>
          <a:xfrm>
            <a:off x="5847905" y="6067014"/>
            <a:ext cx="1991861" cy="410400"/>
          </a:xfrm>
          <a:prstGeom prst="rect">
            <a:avLst/>
          </a:prstGeom>
          <a:solidFill>
            <a:srgbClr val="F6F42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sp>
        <p:nvSpPr>
          <p:cNvPr id="35" name="Rectangle 179"/>
          <p:cNvSpPr/>
          <p:nvPr/>
        </p:nvSpPr>
        <p:spPr>
          <a:xfrm>
            <a:off x="5922333" y="6082613"/>
            <a:ext cx="1860695" cy="38199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ерийный номер</a:t>
            </a:r>
          </a:p>
        </p:txBody>
      </p:sp>
      <p:sp>
        <p:nvSpPr>
          <p:cNvPr id="36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5511222" y="6142741"/>
            <a:ext cx="117020" cy="24622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/>
            <a:r>
              <a:rPr lang="en-US" sz="1600" dirty="0">
                <a:latin typeface="PT Sans Caption" panose="020B0603020203020204" pitchFamily="34" charset="-52"/>
                <a:ea typeface="PT Sans Caption" panose="020B0603020203020204" pitchFamily="34" charset="-52"/>
              </a:rPr>
              <a:t>+</a:t>
            </a:r>
            <a:endParaRPr lang="ru-RU" sz="1600" dirty="0"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sp>
        <p:nvSpPr>
          <p:cNvPr id="39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3164914" y="5604022"/>
            <a:ext cx="351058" cy="73866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/>
            <a:r>
              <a:rPr lang="en-US" sz="4800" dirty="0">
                <a:solidFill>
                  <a:srgbClr val="F8F200"/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  <a:t>=</a:t>
            </a:r>
            <a:endParaRPr lang="ru-RU" sz="4800" dirty="0">
              <a:solidFill>
                <a:srgbClr val="F8F200"/>
              </a:solidFill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sp>
        <p:nvSpPr>
          <p:cNvPr id="40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8229572" y="5628831"/>
            <a:ext cx="351058" cy="73866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/>
            <a:r>
              <a:rPr lang="en-US" sz="4800" dirty="0">
                <a:solidFill>
                  <a:srgbClr val="F8F200"/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  <a:t>+</a:t>
            </a:r>
            <a:endParaRPr lang="ru-RU" sz="4800" dirty="0">
              <a:solidFill>
                <a:srgbClr val="F8F200"/>
              </a:solidFill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sp>
        <p:nvSpPr>
          <p:cNvPr id="41" name="Rectangle 7"/>
          <p:cNvSpPr/>
          <p:nvPr/>
        </p:nvSpPr>
        <p:spPr>
          <a:xfrm>
            <a:off x="8966789" y="5783484"/>
            <a:ext cx="1991861" cy="410400"/>
          </a:xfrm>
          <a:prstGeom prst="rect">
            <a:avLst/>
          </a:prstGeom>
          <a:solidFill>
            <a:srgbClr val="F6F42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sp>
        <p:nvSpPr>
          <p:cNvPr id="42" name="Rectangle 179"/>
          <p:cNvSpPr/>
          <p:nvPr/>
        </p:nvSpPr>
        <p:spPr>
          <a:xfrm>
            <a:off x="9041217" y="5788450"/>
            <a:ext cx="1860695" cy="39971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од проверки</a:t>
            </a:r>
          </a:p>
        </p:txBody>
      </p:sp>
      <p:pic>
        <p:nvPicPr>
          <p:cNvPr id="43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9514606" y="3266354"/>
            <a:ext cx="817184" cy="10416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" name="Рисунок 44" descr="icon-19.pn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5287126" y="3157883"/>
            <a:ext cx="1304852" cy="1188000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C1A7DFBB-08CE-44F2-83EC-8E71DEF5C28E}"/>
              </a:ext>
            </a:extLst>
          </p:cNvPr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5353017" y="1254508"/>
            <a:ext cx="1163998" cy="1142442"/>
          </a:xfrm>
          <a:prstGeom prst="rect">
            <a:avLst/>
          </a:prstGeom>
        </p:spPr>
      </p:pic>
      <p:sp>
        <p:nvSpPr>
          <p:cNvPr id="46" name="Rectangle 24">
            <a:extLst>
              <a:ext uri="{FF2B5EF4-FFF2-40B4-BE49-F238E27FC236}">
                <a16:creationId xmlns:a16="http://schemas.microsoft.com/office/drawing/2014/main" id="{53E7FBA5-E486-456D-8558-141A1372F4E7}"/>
              </a:ext>
            </a:extLst>
          </p:cNvPr>
          <p:cNvSpPr/>
          <p:nvPr/>
        </p:nvSpPr>
        <p:spPr>
          <a:xfrm>
            <a:off x="6753153" y="1718808"/>
            <a:ext cx="3234988" cy="461665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r>
              <a:rPr lang="ru-RU" sz="1600" dirty="0">
                <a:solidFill>
                  <a:srgbClr val="595959"/>
                </a:solidFill>
                <a:latin typeface="PT Sans Caption" pitchFamily="34" charset="-52"/>
                <a:ea typeface="PT Sans Caption" panose="020B0603020203020204" pitchFamily="34" charset="-52"/>
              </a:rPr>
              <a:t>Оптовая и розничная торговля </a:t>
            </a:r>
            <a:br>
              <a:rPr lang="ru-RU" sz="1600" dirty="0">
                <a:solidFill>
                  <a:srgbClr val="595959"/>
                </a:solidFill>
                <a:latin typeface="PT Sans Caption" pitchFamily="34" charset="-52"/>
                <a:ea typeface="PT Sans Caption" panose="020B0603020203020204" pitchFamily="34" charset="-52"/>
              </a:rPr>
            </a:br>
            <a:r>
              <a:rPr lang="ru-RU" sz="1400" b="0" dirty="0">
                <a:solidFill>
                  <a:srgbClr val="595959"/>
                </a:solidFill>
                <a:latin typeface="PT Sans Caption" pitchFamily="34" charset="-52"/>
                <a:ea typeface="PT Sans Caption" panose="020B0603020203020204" pitchFamily="34" charset="-52"/>
              </a:rPr>
              <a:t>(для перемаркировки)</a:t>
            </a:r>
          </a:p>
        </p:txBody>
      </p:sp>
      <p:cxnSp>
        <p:nvCxnSpPr>
          <p:cNvPr id="47" name="Straight Connector 26">
            <a:extLst>
              <a:ext uri="{FF2B5EF4-FFF2-40B4-BE49-F238E27FC236}">
                <a16:creationId xmlns:a16="http://schemas.microsoft.com/office/drawing/2014/main" id="{46A05292-30AA-944A-B13B-9158E7DF1A5E}"/>
              </a:ext>
            </a:extLst>
          </p:cNvPr>
          <p:cNvCxnSpPr>
            <a:stCxn id="44" idx="2"/>
          </p:cNvCxnSpPr>
          <p:nvPr/>
        </p:nvCxnSpPr>
        <p:spPr>
          <a:xfrm>
            <a:off x="5935016" y="2396949"/>
            <a:ext cx="0" cy="756000"/>
          </a:xfrm>
          <a:prstGeom prst="line">
            <a:avLst/>
          </a:prstGeom>
          <a:ln w="25400" cap="rnd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Группа 50"/>
          <p:cNvGrpSpPr>
            <a:grpSpLocks noChangeAspect="1"/>
          </p:cNvGrpSpPr>
          <p:nvPr/>
        </p:nvGrpSpPr>
        <p:grpSpPr bwMode="auto">
          <a:xfrm>
            <a:off x="5772040" y="2840801"/>
            <a:ext cx="324000" cy="324000"/>
            <a:chOff x="6525820" y="2527453"/>
            <a:chExt cx="306910" cy="306910"/>
          </a:xfrm>
        </p:grpSpPr>
        <p:sp>
          <p:nvSpPr>
            <p:cNvPr id="50" name="Oval 16"/>
            <p:cNvSpPr>
              <a:spLocks noChangeArrowheads="1"/>
            </p:cNvSpPr>
            <p:nvPr/>
          </p:nvSpPr>
          <p:spPr bwMode="auto">
            <a:xfrm>
              <a:off x="6525820" y="2527453"/>
              <a:ext cx="306910" cy="306910"/>
            </a:xfrm>
            <a:prstGeom prst="ellipse">
              <a:avLst/>
            </a:prstGeom>
            <a:solidFill>
              <a:srgbClr val="F6F42E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595959"/>
                </a:solidFill>
                <a:latin typeface="PT Sans Caption"/>
                <a:cs typeface="+mn-cs"/>
              </a:endParaRPr>
            </a:p>
          </p:txBody>
        </p:sp>
        <p:sp>
          <p:nvSpPr>
            <p:cNvPr id="51" name="Freeform 17"/>
            <p:cNvSpPr>
              <a:spLocks/>
            </p:cNvSpPr>
            <p:nvPr/>
          </p:nvSpPr>
          <p:spPr bwMode="auto">
            <a:xfrm>
              <a:off x="6603030" y="2606594"/>
              <a:ext cx="152490" cy="146699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595959"/>
                </a:solidFill>
                <a:latin typeface="PT Sans Caption"/>
                <a:cs typeface="+mn-cs"/>
              </a:endParaRPr>
            </a:p>
          </p:txBody>
        </p:sp>
      </p:grpSp>
      <p:sp>
        <p:nvSpPr>
          <p:cNvPr id="52" name="Равнобедренный треугольник 51"/>
          <p:cNvSpPr/>
          <p:nvPr/>
        </p:nvSpPr>
        <p:spPr>
          <a:xfrm rot="10800000">
            <a:off x="5876540" y="2523203"/>
            <a:ext cx="108000" cy="144000"/>
          </a:xfrm>
          <a:prstGeom prst="triangle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72564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hisiDvSRix9UgXvAx2m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1FV1HQTfaT3yLo99uQ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1FV1HQTfaT3yLo99uQ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1FV1HQTfaT3yLo99uQ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1FV1HQTfaT3yLo99uQ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xUk78kSNOWsET65AJ9U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1FV1HQTfaT3yLo99uQ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1FV1HQTfaT3yLo99uQ4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pZyowSR_GPf7M1biQkF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pL7zhESE6oXRC252iLV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32</TotalTime>
  <Words>1314</Words>
  <Application>Microsoft Office PowerPoint</Application>
  <PresentationFormat>Широкоэкранный</PresentationFormat>
  <Paragraphs>296</Paragraphs>
  <Slides>25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5</vt:i4>
      </vt:variant>
    </vt:vector>
  </HeadingPairs>
  <TitlesOfParts>
    <vt:vector size="32" baseType="lpstr">
      <vt:lpstr>Calibri Light</vt:lpstr>
      <vt:lpstr>Open Sans</vt:lpstr>
      <vt:lpstr>PT Sans Caption</vt:lpstr>
      <vt:lpstr>Arial</vt:lpstr>
      <vt:lpstr>Calibri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Маркировка уже работает </vt:lpstr>
      <vt:lpstr>Презентация PowerPoint</vt:lpstr>
      <vt:lpstr>Презентация PowerPoint</vt:lpstr>
      <vt:lpstr>Текущие эксперименты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аркировка и прослеживаемость: обзор проекта    Ноябрь 2018</dc:title>
  <dc:creator>Юсупов Реваз</dc:creator>
  <cp:lastModifiedBy>Долгиев Александр</cp:lastModifiedBy>
  <cp:revision>82</cp:revision>
  <cp:lastPrinted>2019-04-05T14:46:21Z</cp:lastPrinted>
  <dcterms:created xsi:type="dcterms:W3CDTF">2018-11-14T17:09:52Z</dcterms:created>
  <dcterms:modified xsi:type="dcterms:W3CDTF">2020-01-13T14:39:24Z</dcterms:modified>
</cp:coreProperties>
</file>